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7" r:id="rId2"/>
    <p:sldId id="277" r:id="rId3"/>
    <p:sldId id="278" r:id="rId4"/>
    <p:sldId id="280" r:id="rId5"/>
    <p:sldId id="279" r:id="rId6"/>
    <p:sldId id="281" r:id="rId7"/>
    <p:sldId id="282" r:id="rId8"/>
    <p:sldId id="283" r:id="rId9"/>
    <p:sldId id="275" r:id="rId10"/>
  </p:sldIdLst>
  <p:sldSz cx="9144000" cy="5143500" type="screen16x9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35">
          <p15:clr>
            <a:srgbClr val="A4A3A4"/>
          </p15:clr>
        </p15:guide>
        <p15:guide id="2" orient="horz" pos="690">
          <p15:clr>
            <a:srgbClr val="A4A3A4"/>
          </p15:clr>
        </p15:guide>
        <p15:guide id="3" pos="158">
          <p15:clr>
            <a:srgbClr val="A4A3A4"/>
          </p15:clr>
        </p15:guide>
        <p15:guide id="4" pos="5602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139" d="100"/>
          <a:sy n="139" d="100"/>
        </p:scale>
        <p:origin x="726" y="120"/>
      </p:cViewPr>
      <p:guideLst>
        <p:guide orient="horz" pos="2935"/>
        <p:guide orient="horz" pos="690"/>
        <p:guide pos="158"/>
        <p:guide pos="5602"/>
        <p:guide pos="2812"/>
        <p:guide pos="294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540" y="-10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BBC2EB7-EDF7-4555-8A47-8C6B30723F5E}" type="doc">
      <dgm:prSet loTypeId="urn:microsoft.com/office/officeart/2005/8/layout/cycle3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de-DE"/>
        </a:p>
      </dgm:t>
    </dgm:pt>
    <dgm:pt modelId="{7D627FDE-C15D-4D80-ACF7-6B08E25866B9}">
      <dgm:prSet phldrT="[Text]"/>
      <dgm:spPr/>
      <dgm:t>
        <a:bodyPr/>
        <a:lstStyle/>
        <a:p>
          <a:r>
            <a:rPr lang="de-DE" dirty="0" smtClean="0"/>
            <a:t>Reflexion der Lern- und Arbeitsprozesse</a:t>
          </a:r>
          <a:endParaRPr lang="de-DE" dirty="0"/>
        </a:p>
      </dgm:t>
    </dgm:pt>
    <dgm:pt modelId="{7611A584-7A19-485B-B7C2-C54FC6625562}" type="parTrans" cxnId="{429F775D-CB53-4C6D-B5A0-FD53159D64A5}">
      <dgm:prSet/>
      <dgm:spPr/>
      <dgm:t>
        <a:bodyPr/>
        <a:lstStyle/>
        <a:p>
          <a:endParaRPr lang="de-DE"/>
        </a:p>
      </dgm:t>
    </dgm:pt>
    <dgm:pt modelId="{2C3C2C81-16DC-4312-8AFF-41DD59BADD54}" type="sibTrans" cxnId="{429F775D-CB53-4C6D-B5A0-FD53159D64A5}">
      <dgm:prSet/>
      <dgm:spPr/>
      <dgm:t>
        <a:bodyPr/>
        <a:lstStyle/>
        <a:p>
          <a:endParaRPr lang="de-DE"/>
        </a:p>
      </dgm:t>
    </dgm:pt>
    <dgm:pt modelId="{8FFEBD6D-6521-4456-AC6E-22F4B954C189}">
      <dgm:prSet phldrT="[Text]"/>
      <dgm:spPr/>
      <dgm:t>
        <a:bodyPr/>
        <a:lstStyle/>
        <a:p>
          <a:r>
            <a:rPr lang="de-DE" dirty="0" smtClean="0"/>
            <a:t>Stärkung der Forschungsorientierung</a:t>
          </a:r>
          <a:endParaRPr lang="de-DE" dirty="0"/>
        </a:p>
      </dgm:t>
    </dgm:pt>
    <dgm:pt modelId="{DC1B02EC-AD67-40E7-AE04-FFC7E2E887A8}" type="parTrans" cxnId="{347AE20F-02ED-4599-8448-EABCB856B412}">
      <dgm:prSet/>
      <dgm:spPr/>
      <dgm:t>
        <a:bodyPr/>
        <a:lstStyle/>
        <a:p>
          <a:endParaRPr lang="de-DE"/>
        </a:p>
      </dgm:t>
    </dgm:pt>
    <dgm:pt modelId="{A7DD6377-F11C-448D-B145-F21BF9EC4979}" type="sibTrans" cxnId="{347AE20F-02ED-4599-8448-EABCB856B412}">
      <dgm:prSet/>
      <dgm:spPr/>
      <dgm:t>
        <a:bodyPr/>
        <a:lstStyle/>
        <a:p>
          <a:endParaRPr lang="de-DE"/>
        </a:p>
      </dgm:t>
    </dgm:pt>
    <dgm:pt modelId="{D3FB97A8-6743-42A1-9C50-EAB410C9EE01}">
      <dgm:prSet phldrT="[Text]"/>
      <dgm:spPr/>
      <dgm:t>
        <a:bodyPr/>
        <a:lstStyle/>
        <a:p>
          <a:r>
            <a:rPr lang="de-DE" dirty="0" smtClean="0"/>
            <a:t>Vernetzung der Studierenden</a:t>
          </a:r>
          <a:endParaRPr lang="de-DE" dirty="0"/>
        </a:p>
      </dgm:t>
    </dgm:pt>
    <dgm:pt modelId="{CCD794C5-2B66-42EB-8FD4-7D903586A262}" type="parTrans" cxnId="{4CBDE2D8-DF96-417B-BDFD-F979845C404D}">
      <dgm:prSet/>
      <dgm:spPr/>
      <dgm:t>
        <a:bodyPr/>
        <a:lstStyle/>
        <a:p>
          <a:endParaRPr lang="de-DE"/>
        </a:p>
      </dgm:t>
    </dgm:pt>
    <dgm:pt modelId="{572B5F93-A55A-4CCE-883B-47D4241A2AB7}" type="sibTrans" cxnId="{4CBDE2D8-DF96-417B-BDFD-F979845C404D}">
      <dgm:prSet/>
      <dgm:spPr/>
      <dgm:t>
        <a:bodyPr/>
        <a:lstStyle/>
        <a:p>
          <a:endParaRPr lang="de-DE"/>
        </a:p>
      </dgm:t>
    </dgm:pt>
    <dgm:pt modelId="{DBC3A491-7576-4D50-8E05-94813B7D564E}">
      <dgm:prSet phldrT="[Text]"/>
      <dgm:spPr/>
      <dgm:t>
        <a:bodyPr/>
        <a:lstStyle/>
        <a:p>
          <a:r>
            <a:rPr lang="de-DE" dirty="0" smtClean="0"/>
            <a:t>Verbesserung der Prüfungsleistungen</a:t>
          </a:r>
          <a:endParaRPr lang="de-DE" dirty="0"/>
        </a:p>
      </dgm:t>
    </dgm:pt>
    <dgm:pt modelId="{A2BE2FF1-0921-4249-A691-1AFD77BDC0D8}" type="parTrans" cxnId="{3B8DA7FF-3484-42FD-918D-A5F16E34E0B9}">
      <dgm:prSet/>
      <dgm:spPr/>
      <dgm:t>
        <a:bodyPr/>
        <a:lstStyle/>
        <a:p>
          <a:endParaRPr lang="de-DE"/>
        </a:p>
      </dgm:t>
    </dgm:pt>
    <dgm:pt modelId="{517D638E-EDAE-41FC-BD16-3232028421A9}" type="sibTrans" cxnId="{3B8DA7FF-3484-42FD-918D-A5F16E34E0B9}">
      <dgm:prSet/>
      <dgm:spPr/>
      <dgm:t>
        <a:bodyPr/>
        <a:lstStyle/>
        <a:p>
          <a:endParaRPr lang="de-DE"/>
        </a:p>
      </dgm:t>
    </dgm:pt>
    <dgm:pt modelId="{E618849F-1FCE-406B-BE0F-D9D45CD57D90}" type="pres">
      <dgm:prSet presAssocID="{8BBC2EB7-EDF7-4555-8A47-8C6B30723F5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D49A06ED-19EC-4DC2-BB17-260B744BE26B}" type="pres">
      <dgm:prSet presAssocID="{8BBC2EB7-EDF7-4555-8A47-8C6B30723F5E}" presName="cycle" presStyleCnt="0"/>
      <dgm:spPr/>
    </dgm:pt>
    <dgm:pt modelId="{776D7FFD-2396-4F17-9EA9-5A82F769328E}" type="pres">
      <dgm:prSet presAssocID="{7D627FDE-C15D-4D80-ACF7-6B08E25866B9}" presName="nodeFirs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DD5B3BD-4567-4AA8-A0E5-48EE1C5CEB7C}" type="pres">
      <dgm:prSet presAssocID="{2C3C2C81-16DC-4312-8AFF-41DD59BADD54}" presName="sibTransFirstNode" presStyleLbl="bgShp" presStyleIdx="0" presStyleCnt="1"/>
      <dgm:spPr/>
      <dgm:t>
        <a:bodyPr/>
        <a:lstStyle/>
        <a:p>
          <a:endParaRPr lang="de-DE"/>
        </a:p>
      </dgm:t>
    </dgm:pt>
    <dgm:pt modelId="{093DA278-624E-495C-83F8-3ADE600FC2EF}" type="pres">
      <dgm:prSet presAssocID="{8FFEBD6D-6521-4456-AC6E-22F4B954C189}" presName="nodeFollowingNodes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D3E52ED-0E00-4256-A1F4-9CA691776F8A}" type="pres">
      <dgm:prSet presAssocID="{D3FB97A8-6743-42A1-9C50-EAB410C9EE01}" presName="nodeFollowingNodes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673270B-481E-453F-A543-2CE92A0977B3}" type="pres">
      <dgm:prSet presAssocID="{DBC3A491-7576-4D50-8E05-94813B7D564E}" presName="nodeFollowingNodes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10E9DED-38C0-42F0-B7FC-FB11DB4C5026}" type="presOf" srcId="{8BBC2EB7-EDF7-4555-8A47-8C6B30723F5E}" destId="{E618849F-1FCE-406B-BE0F-D9D45CD57D90}" srcOrd="0" destOrd="0" presId="urn:microsoft.com/office/officeart/2005/8/layout/cycle3"/>
    <dgm:cxn modelId="{3B8DA7FF-3484-42FD-918D-A5F16E34E0B9}" srcId="{8BBC2EB7-EDF7-4555-8A47-8C6B30723F5E}" destId="{DBC3A491-7576-4D50-8E05-94813B7D564E}" srcOrd="3" destOrd="0" parTransId="{A2BE2FF1-0921-4249-A691-1AFD77BDC0D8}" sibTransId="{517D638E-EDAE-41FC-BD16-3232028421A9}"/>
    <dgm:cxn modelId="{429F775D-CB53-4C6D-B5A0-FD53159D64A5}" srcId="{8BBC2EB7-EDF7-4555-8A47-8C6B30723F5E}" destId="{7D627FDE-C15D-4D80-ACF7-6B08E25866B9}" srcOrd="0" destOrd="0" parTransId="{7611A584-7A19-485B-B7C2-C54FC6625562}" sibTransId="{2C3C2C81-16DC-4312-8AFF-41DD59BADD54}"/>
    <dgm:cxn modelId="{D7182AA1-9566-4DA4-88EF-F41B4EA083AC}" type="presOf" srcId="{7D627FDE-C15D-4D80-ACF7-6B08E25866B9}" destId="{776D7FFD-2396-4F17-9EA9-5A82F769328E}" srcOrd="0" destOrd="0" presId="urn:microsoft.com/office/officeart/2005/8/layout/cycle3"/>
    <dgm:cxn modelId="{CFE094CD-570F-42C9-B10B-358435239723}" type="presOf" srcId="{D3FB97A8-6743-42A1-9C50-EAB410C9EE01}" destId="{5D3E52ED-0E00-4256-A1F4-9CA691776F8A}" srcOrd="0" destOrd="0" presId="urn:microsoft.com/office/officeart/2005/8/layout/cycle3"/>
    <dgm:cxn modelId="{5D78B8A1-A6D1-4BC3-9274-35E0CD2C049A}" type="presOf" srcId="{DBC3A491-7576-4D50-8E05-94813B7D564E}" destId="{E673270B-481E-453F-A543-2CE92A0977B3}" srcOrd="0" destOrd="0" presId="urn:microsoft.com/office/officeart/2005/8/layout/cycle3"/>
    <dgm:cxn modelId="{347AE20F-02ED-4599-8448-EABCB856B412}" srcId="{8BBC2EB7-EDF7-4555-8A47-8C6B30723F5E}" destId="{8FFEBD6D-6521-4456-AC6E-22F4B954C189}" srcOrd="1" destOrd="0" parTransId="{DC1B02EC-AD67-40E7-AE04-FFC7E2E887A8}" sibTransId="{A7DD6377-F11C-448D-B145-F21BF9EC4979}"/>
    <dgm:cxn modelId="{FB1E8156-048C-4DEE-BCDB-49C836829C3B}" type="presOf" srcId="{2C3C2C81-16DC-4312-8AFF-41DD59BADD54}" destId="{5DD5B3BD-4567-4AA8-A0E5-48EE1C5CEB7C}" srcOrd="0" destOrd="0" presId="urn:microsoft.com/office/officeart/2005/8/layout/cycle3"/>
    <dgm:cxn modelId="{40B64191-781B-456A-89F2-24FEB7514128}" type="presOf" srcId="{8FFEBD6D-6521-4456-AC6E-22F4B954C189}" destId="{093DA278-624E-495C-83F8-3ADE600FC2EF}" srcOrd="0" destOrd="0" presId="urn:microsoft.com/office/officeart/2005/8/layout/cycle3"/>
    <dgm:cxn modelId="{4CBDE2D8-DF96-417B-BDFD-F979845C404D}" srcId="{8BBC2EB7-EDF7-4555-8A47-8C6B30723F5E}" destId="{D3FB97A8-6743-42A1-9C50-EAB410C9EE01}" srcOrd="2" destOrd="0" parTransId="{CCD794C5-2B66-42EB-8FD4-7D903586A262}" sibTransId="{572B5F93-A55A-4CCE-883B-47D4241A2AB7}"/>
    <dgm:cxn modelId="{F4002E63-E08C-4E8F-AC8E-4395F6EE68BA}" type="presParOf" srcId="{E618849F-1FCE-406B-BE0F-D9D45CD57D90}" destId="{D49A06ED-19EC-4DC2-BB17-260B744BE26B}" srcOrd="0" destOrd="0" presId="urn:microsoft.com/office/officeart/2005/8/layout/cycle3"/>
    <dgm:cxn modelId="{A61BFB81-90A1-4A98-BD4D-60BF5FBE0856}" type="presParOf" srcId="{D49A06ED-19EC-4DC2-BB17-260B744BE26B}" destId="{776D7FFD-2396-4F17-9EA9-5A82F769328E}" srcOrd="0" destOrd="0" presId="urn:microsoft.com/office/officeart/2005/8/layout/cycle3"/>
    <dgm:cxn modelId="{D7B5EB6D-C80F-49C0-975F-8398E9DDE79C}" type="presParOf" srcId="{D49A06ED-19EC-4DC2-BB17-260B744BE26B}" destId="{5DD5B3BD-4567-4AA8-A0E5-48EE1C5CEB7C}" srcOrd="1" destOrd="0" presId="urn:microsoft.com/office/officeart/2005/8/layout/cycle3"/>
    <dgm:cxn modelId="{75B5879C-5932-4EE0-AE7F-488CA5390F89}" type="presParOf" srcId="{D49A06ED-19EC-4DC2-BB17-260B744BE26B}" destId="{093DA278-624E-495C-83F8-3ADE600FC2EF}" srcOrd="2" destOrd="0" presId="urn:microsoft.com/office/officeart/2005/8/layout/cycle3"/>
    <dgm:cxn modelId="{5712873E-DB84-4BF0-A186-69F1CBDC2708}" type="presParOf" srcId="{D49A06ED-19EC-4DC2-BB17-260B744BE26B}" destId="{5D3E52ED-0E00-4256-A1F4-9CA691776F8A}" srcOrd="3" destOrd="0" presId="urn:microsoft.com/office/officeart/2005/8/layout/cycle3"/>
    <dgm:cxn modelId="{53B1323A-7CCF-4067-9F6C-19D06176BBE2}" type="presParOf" srcId="{D49A06ED-19EC-4DC2-BB17-260B744BE26B}" destId="{E673270B-481E-453F-A543-2CE92A0977B3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B74422E-E25E-435E-BA02-382C2E8F4631}" type="doc">
      <dgm:prSet loTypeId="urn:microsoft.com/office/officeart/2005/8/layout/matrix1" loCatId="matrix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de-DE"/>
        </a:p>
      </dgm:t>
    </dgm:pt>
    <dgm:pt modelId="{838FBD2D-4303-4324-AA9F-F5417C20EDF0}">
      <dgm:prSet phldrT="[Text]"/>
      <dgm:spPr/>
      <dgm:t>
        <a:bodyPr/>
        <a:lstStyle/>
        <a:p>
          <a:r>
            <a:rPr lang="de-DE" dirty="0" smtClean="0"/>
            <a:t>Konzept Qualifizierung</a:t>
          </a:r>
          <a:endParaRPr lang="de-DE" dirty="0"/>
        </a:p>
      </dgm:t>
    </dgm:pt>
    <dgm:pt modelId="{86399B01-C2FB-4FCD-A2DA-66A0B9409104}" type="parTrans" cxnId="{B78FE3E6-2187-4885-91B8-2E081B38F49D}">
      <dgm:prSet/>
      <dgm:spPr/>
      <dgm:t>
        <a:bodyPr/>
        <a:lstStyle/>
        <a:p>
          <a:endParaRPr lang="de-DE"/>
        </a:p>
      </dgm:t>
    </dgm:pt>
    <dgm:pt modelId="{CC80D6EE-DA46-441B-ADE3-67796FDF0BAD}" type="sibTrans" cxnId="{B78FE3E6-2187-4885-91B8-2E081B38F49D}">
      <dgm:prSet/>
      <dgm:spPr/>
      <dgm:t>
        <a:bodyPr/>
        <a:lstStyle/>
        <a:p>
          <a:endParaRPr lang="de-DE"/>
        </a:p>
      </dgm:t>
    </dgm:pt>
    <dgm:pt modelId="{7F5BDCA0-6D34-4302-A846-1265EE2131FA}">
      <dgm:prSet phldrT="[Text]"/>
      <dgm:spPr/>
      <dgm:t>
        <a:bodyPr/>
        <a:lstStyle/>
        <a:p>
          <a:r>
            <a:rPr lang="de-DE" dirty="0" smtClean="0"/>
            <a:t>1 Vom Lesen zum Schreiben</a:t>
          </a:r>
          <a:endParaRPr lang="de-DE" dirty="0"/>
        </a:p>
      </dgm:t>
    </dgm:pt>
    <dgm:pt modelId="{94B34287-9A31-496D-8498-DB8D9732A592}" type="parTrans" cxnId="{580A1734-5B17-4EB7-B18D-FCECE72B628A}">
      <dgm:prSet/>
      <dgm:spPr/>
      <dgm:t>
        <a:bodyPr/>
        <a:lstStyle/>
        <a:p>
          <a:endParaRPr lang="de-DE"/>
        </a:p>
      </dgm:t>
    </dgm:pt>
    <dgm:pt modelId="{FE1FB0F0-D03D-41DE-A1B3-C92FC5F248F5}" type="sibTrans" cxnId="{580A1734-5B17-4EB7-B18D-FCECE72B628A}">
      <dgm:prSet/>
      <dgm:spPr/>
      <dgm:t>
        <a:bodyPr/>
        <a:lstStyle/>
        <a:p>
          <a:endParaRPr lang="de-DE"/>
        </a:p>
      </dgm:t>
    </dgm:pt>
    <dgm:pt modelId="{9B67EDFC-9CF5-4ACC-970A-1293B71EDB3B}">
      <dgm:prSet phldrT="[Text]"/>
      <dgm:spPr/>
      <dgm:t>
        <a:bodyPr/>
        <a:lstStyle/>
        <a:p>
          <a:r>
            <a:rPr lang="de-DE" dirty="0" smtClean="0"/>
            <a:t>2 Textsorten (</a:t>
          </a:r>
          <a:r>
            <a:rPr lang="de-DE" dirty="0" err="1" smtClean="0"/>
            <a:t>SuUB</a:t>
          </a:r>
          <a:r>
            <a:rPr lang="de-DE" dirty="0" smtClean="0"/>
            <a:t>)</a:t>
          </a:r>
          <a:endParaRPr lang="de-DE" dirty="0"/>
        </a:p>
      </dgm:t>
    </dgm:pt>
    <dgm:pt modelId="{1AD2E441-EA74-4F32-BDEA-1E51D5F76463}" type="parTrans" cxnId="{6B90ADF1-6D56-47B3-B020-A5696B4F71D6}">
      <dgm:prSet/>
      <dgm:spPr/>
      <dgm:t>
        <a:bodyPr/>
        <a:lstStyle/>
        <a:p>
          <a:endParaRPr lang="de-DE"/>
        </a:p>
      </dgm:t>
    </dgm:pt>
    <dgm:pt modelId="{1940026A-8503-434A-ACA2-FFC5AC4496D3}" type="sibTrans" cxnId="{6B90ADF1-6D56-47B3-B020-A5696B4F71D6}">
      <dgm:prSet/>
      <dgm:spPr/>
      <dgm:t>
        <a:bodyPr/>
        <a:lstStyle/>
        <a:p>
          <a:endParaRPr lang="de-DE"/>
        </a:p>
      </dgm:t>
    </dgm:pt>
    <dgm:pt modelId="{E4C3E202-E169-41B7-B829-ED32B647DFB9}">
      <dgm:prSet phldrT="[Text]"/>
      <dgm:spPr/>
      <dgm:t>
        <a:bodyPr/>
        <a:lstStyle/>
        <a:p>
          <a:r>
            <a:rPr lang="de-DE" dirty="0" smtClean="0"/>
            <a:t>3 Ins Schreiben kommen</a:t>
          </a:r>
          <a:endParaRPr lang="de-DE" dirty="0"/>
        </a:p>
      </dgm:t>
    </dgm:pt>
    <dgm:pt modelId="{37CEA51A-80BC-41B0-BF3E-AAB08433E65D}" type="parTrans" cxnId="{3D961936-908F-49AF-8968-EC245CD186BF}">
      <dgm:prSet/>
      <dgm:spPr/>
      <dgm:t>
        <a:bodyPr/>
        <a:lstStyle/>
        <a:p>
          <a:endParaRPr lang="de-DE"/>
        </a:p>
      </dgm:t>
    </dgm:pt>
    <dgm:pt modelId="{C43D8CB5-8FE8-49B7-B5DD-2286956225C4}" type="sibTrans" cxnId="{3D961936-908F-49AF-8968-EC245CD186BF}">
      <dgm:prSet/>
      <dgm:spPr/>
      <dgm:t>
        <a:bodyPr/>
        <a:lstStyle/>
        <a:p>
          <a:endParaRPr lang="de-DE"/>
        </a:p>
      </dgm:t>
    </dgm:pt>
    <dgm:pt modelId="{9A6D6FDF-700C-4516-AC59-E7E57B819DED}">
      <dgm:prSet phldrT="[Text]"/>
      <dgm:spPr/>
      <dgm:t>
        <a:bodyPr/>
        <a:lstStyle/>
        <a:p>
          <a:r>
            <a:rPr lang="de-DE" dirty="0" smtClean="0"/>
            <a:t>4 Feedback</a:t>
          </a:r>
          <a:endParaRPr lang="de-DE" dirty="0"/>
        </a:p>
      </dgm:t>
    </dgm:pt>
    <dgm:pt modelId="{5CE8DF6A-5D61-492F-881D-FEF7CA8B86BF}" type="parTrans" cxnId="{CC5F32BC-C493-43FE-9161-62883C3F089B}">
      <dgm:prSet/>
      <dgm:spPr/>
      <dgm:t>
        <a:bodyPr/>
        <a:lstStyle/>
        <a:p>
          <a:endParaRPr lang="de-DE"/>
        </a:p>
      </dgm:t>
    </dgm:pt>
    <dgm:pt modelId="{FCC74A53-7DF9-47AB-8FEC-1A9929435D67}" type="sibTrans" cxnId="{CC5F32BC-C493-43FE-9161-62883C3F089B}">
      <dgm:prSet/>
      <dgm:spPr/>
      <dgm:t>
        <a:bodyPr/>
        <a:lstStyle/>
        <a:p>
          <a:endParaRPr lang="de-DE"/>
        </a:p>
      </dgm:t>
    </dgm:pt>
    <dgm:pt modelId="{2217A1BC-F806-434E-A700-6B01EE487E45}">
      <dgm:prSet phldrT="[Text]"/>
      <dgm:spPr/>
      <dgm:t>
        <a:bodyPr/>
        <a:lstStyle/>
        <a:p>
          <a:r>
            <a:rPr lang="de-DE" dirty="0" smtClean="0"/>
            <a:t>Schreibbiographie</a:t>
          </a:r>
          <a:endParaRPr lang="de-DE" dirty="0"/>
        </a:p>
      </dgm:t>
    </dgm:pt>
    <dgm:pt modelId="{1FA25EE8-972E-4F0D-9DA9-EB1D4BD8EF38}" type="parTrans" cxnId="{FC4C4CE8-ABE4-4DE1-82D3-5788E2297E9E}">
      <dgm:prSet/>
      <dgm:spPr/>
      <dgm:t>
        <a:bodyPr/>
        <a:lstStyle/>
        <a:p>
          <a:endParaRPr lang="de-DE"/>
        </a:p>
      </dgm:t>
    </dgm:pt>
    <dgm:pt modelId="{954F3490-FF12-4D75-8A37-F5618319EBB8}" type="sibTrans" cxnId="{FC4C4CE8-ABE4-4DE1-82D3-5788E2297E9E}">
      <dgm:prSet/>
      <dgm:spPr/>
      <dgm:t>
        <a:bodyPr/>
        <a:lstStyle/>
        <a:p>
          <a:endParaRPr lang="de-DE"/>
        </a:p>
      </dgm:t>
    </dgm:pt>
    <dgm:pt modelId="{6B8834C5-DA5B-4E6D-B00B-2EA56DA2EBB7}">
      <dgm:prSet phldrT="[Text]"/>
      <dgm:spPr/>
      <dgm:t>
        <a:bodyPr/>
        <a:lstStyle/>
        <a:p>
          <a:r>
            <a:rPr lang="de-DE" dirty="0" smtClean="0"/>
            <a:t>Reflexion zum Umgang mit Texten</a:t>
          </a:r>
          <a:endParaRPr lang="de-DE" dirty="0"/>
        </a:p>
      </dgm:t>
    </dgm:pt>
    <dgm:pt modelId="{ADDAE09D-8FC4-48DD-9431-EB42FD8203EE}" type="parTrans" cxnId="{53B162E7-7179-43C8-9E6D-6502E46139D7}">
      <dgm:prSet/>
      <dgm:spPr/>
      <dgm:t>
        <a:bodyPr/>
        <a:lstStyle/>
        <a:p>
          <a:endParaRPr lang="de-DE"/>
        </a:p>
      </dgm:t>
    </dgm:pt>
    <dgm:pt modelId="{C99F33EB-83A8-474D-8337-1E0B5EE2AC9E}" type="sibTrans" cxnId="{53B162E7-7179-43C8-9E6D-6502E46139D7}">
      <dgm:prSet/>
      <dgm:spPr/>
      <dgm:t>
        <a:bodyPr/>
        <a:lstStyle/>
        <a:p>
          <a:endParaRPr lang="de-DE"/>
        </a:p>
      </dgm:t>
    </dgm:pt>
    <dgm:pt modelId="{AD0DC55B-E5A7-43EF-9181-5146DA102A9E}">
      <dgm:prSet phldrT="[Text]"/>
      <dgm:spPr/>
      <dgm:t>
        <a:bodyPr/>
        <a:lstStyle/>
        <a:p>
          <a:r>
            <a:rPr lang="de-DE" dirty="0" smtClean="0"/>
            <a:t>Lesestrategien</a:t>
          </a:r>
          <a:endParaRPr lang="de-DE" dirty="0"/>
        </a:p>
      </dgm:t>
    </dgm:pt>
    <dgm:pt modelId="{1BD93F4C-38A8-492F-B7AD-A47C73D9926C}" type="parTrans" cxnId="{EC448F54-4380-4121-A203-56B47A8E7E9F}">
      <dgm:prSet/>
      <dgm:spPr/>
      <dgm:t>
        <a:bodyPr/>
        <a:lstStyle/>
        <a:p>
          <a:endParaRPr lang="de-DE"/>
        </a:p>
      </dgm:t>
    </dgm:pt>
    <dgm:pt modelId="{963CB913-60AF-49FB-9B1F-44CDB0535532}" type="sibTrans" cxnId="{EC448F54-4380-4121-A203-56B47A8E7E9F}">
      <dgm:prSet/>
      <dgm:spPr/>
      <dgm:t>
        <a:bodyPr/>
        <a:lstStyle/>
        <a:p>
          <a:endParaRPr lang="de-DE"/>
        </a:p>
      </dgm:t>
    </dgm:pt>
    <dgm:pt modelId="{AD3DFDC9-EE49-4CE8-A730-3F684C4346B7}">
      <dgm:prSet phldrT="[Text]"/>
      <dgm:spPr/>
      <dgm:t>
        <a:bodyPr/>
        <a:lstStyle/>
        <a:p>
          <a:r>
            <a:rPr lang="de-DE" dirty="0" smtClean="0"/>
            <a:t>Informationskreislauf</a:t>
          </a:r>
          <a:endParaRPr lang="de-DE" dirty="0"/>
        </a:p>
      </dgm:t>
    </dgm:pt>
    <dgm:pt modelId="{738C297C-FFFC-4F9A-8773-3255C799D89A}" type="parTrans" cxnId="{6B19BF36-895A-4ACC-8F51-EEFC92DA8A4C}">
      <dgm:prSet/>
      <dgm:spPr/>
      <dgm:t>
        <a:bodyPr/>
        <a:lstStyle/>
        <a:p>
          <a:endParaRPr lang="de-DE"/>
        </a:p>
      </dgm:t>
    </dgm:pt>
    <dgm:pt modelId="{BA1DA114-F3B6-4033-AEAF-2DB5882062EC}" type="sibTrans" cxnId="{6B19BF36-895A-4ACC-8F51-EEFC92DA8A4C}">
      <dgm:prSet/>
      <dgm:spPr/>
      <dgm:t>
        <a:bodyPr/>
        <a:lstStyle/>
        <a:p>
          <a:endParaRPr lang="de-DE"/>
        </a:p>
      </dgm:t>
    </dgm:pt>
    <dgm:pt modelId="{6F6B064D-3763-40B4-A19F-A62737EA9112}">
      <dgm:prSet phldrT="[Text]"/>
      <dgm:spPr/>
      <dgm:t>
        <a:bodyPr/>
        <a:lstStyle/>
        <a:p>
          <a:r>
            <a:rPr lang="de-DE" dirty="0" smtClean="0"/>
            <a:t>Quellen &amp; Zitate zuordnen</a:t>
          </a:r>
          <a:endParaRPr lang="de-DE" dirty="0"/>
        </a:p>
      </dgm:t>
    </dgm:pt>
    <dgm:pt modelId="{7C7A0C61-8289-42A0-93CE-E72C9C349987}" type="parTrans" cxnId="{BD51364E-4958-473C-A668-A76E4635C763}">
      <dgm:prSet/>
      <dgm:spPr/>
      <dgm:t>
        <a:bodyPr/>
        <a:lstStyle/>
        <a:p>
          <a:endParaRPr lang="de-DE"/>
        </a:p>
      </dgm:t>
    </dgm:pt>
    <dgm:pt modelId="{312FDD28-2CDE-4A60-97C9-18BC88F09AB6}" type="sibTrans" cxnId="{BD51364E-4958-473C-A668-A76E4635C763}">
      <dgm:prSet/>
      <dgm:spPr/>
      <dgm:t>
        <a:bodyPr/>
        <a:lstStyle/>
        <a:p>
          <a:endParaRPr lang="de-DE"/>
        </a:p>
      </dgm:t>
    </dgm:pt>
    <dgm:pt modelId="{EA087997-FE51-4B84-A060-A0BCB36571FE}">
      <dgm:prSet phldrT="[Text]"/>
      <dgm:spPr/>
      <dgm:t>
        <a:bodyPr/>
        <a:lstStyle/>
        <a:p>
          <a:r>
            <a:rPr lang="de-DE" dirty="0" smtClean="0"/>
            <a:t>Zitierfähigkeit vs. Zitierwürdigkeit</a:t>
          </a:r>
          <a:endParaRPr lang="de-DE" dirty="0"/>
        </a:p>
      </dgm:t>
    </dgm:pt>
    <dgm:pt modelId="{8221C4F1-55CF-4CDA-9683-B4D9CA6884D8}" type="parTrans" cxnId="{5C2AE5D9-4D20-4E0B-A39C-0F79882BE5FD}">
      <dgm:prSet/>
      <dgm:spPr/>
      <dgm:t>
        <a:bodyPr/>
        <a:lstStyle/>
        <a:p>
          <a:endParaRPr lang="de-DE"/>
        </a:p>
      </dgm:t>
    </dgm:pt>
    <dgm:pt modelId="{C710D145-382F-4528-96E9-7712EF71D314}" type="sibTrans" cxnId="{5C2AE5D9-4D20-4E0B-A39C-0F79882BE5FD}">
      <dgm:prSet/>
      <dgm:spPr/>
      <dgm:t>
        <a:bodyPr/>
        <a:lstStyle/>
        <a:p>
          <a:endParaRPr lang="de-DE"/>
        </a:p>
      </dgm:t>
    </dgm:pt>
    <dgm:pt modelId="{8D9A57CA-D325-4388-9900-EA6B5582D91A}">
      <dgm:prSet phldrT="[Text]"/>
      <dgm:spPr/>
      <dgm:t>
        <a:bodyPr/>
        <a:lstStyle/>
        <a:p>
          <a:r>
            <a:rPr lang="de-DE" dirty="0" smtClean="0"/>
            <a:t>Schreibprozessmodell</a:t>
          </a:r>
          <a:endParaRPr lang="de-DE" dirty="0"/>
        </a:p>
      </dgm:t>
    </dgm:pt>
    <dgm:pt modelId="{4F98679E-2526-4079-96BD-E2E2284B85C2}" type="parTrans" cxnId="{5621AE27-288E-4526-866C-8C32D9218EE0}">
      <dgm:prSet/>
      <dgm:spPr/>
      <dgm:t>
        <a:bodyPr/>
        <a:lstStyle/>
        <a:p>
          <a:endParaRPr lang="de-DE"/>
        </a:p>
      </dgm:t>
    </dgm:pt>
    <dgm:pt modelId="{9BA71B07-2061-4D96-B4DA-904A38ED6EEC}" type="sibTrans" cxnId="{5621AE27-288E-4526-866C-8C32D9218EE0}">
      <dgm:prSet/>
      <dgm:spPr/>
      <dgm:t>
        <a:bodyPr/>
        <a:lstStyle/>
        <a:p>
          <a:endParaRPr lang="de-DE"/>
        </a:p>
      </dgm:t>
    </dgm:pt>
    <dgm:pt modelId="{67FF7DEB-A1EA-41EA-BE02-D08CE0E1D4CF}">
      <dgm:prSet phldrT="[Text]"/>
      <dgm:spPr/>
      <dgm:t>
        <a:bodyPr/>
        <a:lstStyle/>
        <a:p>
          <a:r>
            <a:rPr lang="de-DE" dirty="0" err="1" smtClean="0"/>
            <a:t>Rohtext</a:t>
          </a:r>
          <a:endParaRPr lang="de-DE" dirty="0"/>
        </a:p>
      </dgm:t>
    </dgm:pt>
    <dgm:pt modelId="{8A2778A5-3AAF-4879-A0D2-13E2E22D1825}" type="parTrans" cxnId="{04071905-589C-4FC4-988E-9A0FEF09FDBA}">
      <dgm:prSet/>
      <dgm:spPr/>
      <dgm:t>
        <a:bodyPr/>
        <a:lstStyle/>
        <a:p>
          <a:endParaRPr lang="de-DE"/>
        </a:p>
      </dgm:t>
    </dgm:pt>
    <dgm:pt modelId="{F2575285-A47B-4396-90B8-C87451C332D7}" type="sibTrans" cxnId="{04071905-589C-4FC4-988E-9A0FEF09FDBA}">
      <dgm:prSet/>
      <dgm:spPr/>
      <dgm:t>
        <a:bodyPr/>
        <a:lstStyle/>
        <a:p>
          <a:endParaRPr lang="de-DE"/>
        </a:p>
      </dgm:t>
    </dgm:pt>
    <dgm:pt modelId="{247965F5-77D7-4A7F-8811-63355BE62A2B}">
      <dgm:prSet phldrT="[Text]"/>
      <dgm:spPr/>
      <dgm:t>
        <a:bodyPr/>
        <a:lstStyle/>
        <a:p>
          <a:r>
            <a:rPr lang="de-DE" dirty="0" err="1" smtClean="0"/>
            <a:t>Schreibstratgien</a:t>
          </a:r>
          <a:endParaRPr lang="de-DE" dirty="0"/>
        </a:p>
      </dgm:t>
    </dgm:pt>
    <dgm:pt modelId="{AF577C8C-A2D1-4AB1-9E48-7975B52554FC}" type="parTrans" cxnId="{6C3289FD-48D4-46F1-9928-FD297A205F5E}">
      <dgm:prSet/>
      <dgm:spPr/>
      <dgm:t>
        <a:bodyPr/>
        <a:lstStyle/>
        <a:p>
          <a:endParaRPr lang="de-DE"/>
        </a:p>
      </dgm:t>
    </dgm:pt>
    <dgm:pt modelId="{497387AB-E44F-4336-84E7-03F0BB13CC9A}" type="sibTrans" cxnId="{6C3289FD-48D4-46F1-9928-FD297A205F5E}">
      <dgm:prSet/>
      <dgm:spPr/>
      <dgm:t>
        <a:bodyPr/>
        <a:lstStyle/>
        <a:p>
          <a:endParaRPr lang="de-DE"/>
        </a:p>
      </dgm:t>
    </dgm:pt>
    <dgm:pt modelId="{FB5426DE-A4F7-4820-BCF0-A1C183441D6C}">
      <dgm:prSet phldrT="[Text]"/>
      <dgm:spPr/>
      <dgm:t>
        <a:bodyPr/>
        <a:lstStyle/>
        <a:p>
          <a:r>
            <a:rPr lang="de-DE" dirty="0" smtClean="0"/>
            <a:t>Reflexion eigener Erfahrungen</a:t>
          </a:r>
          <a:endParaRPr lang="de-DE" dirty="0"/>
        </a:p>
      </dgm:t>
    </dgm:pt>
    <dgm:pt modelId="{88AC567B-ECA9-4625-B4E1-2A35254E57D2}" type="parTrans" cxnId="{287D7FED-4FB8-4D1D-B719-D168C5E47442}">
      <dgm:prSet/>
      <dgm:spPr/>
      <dgm:t>
        <a:bodyPr/>
        <a:lstStyle/>
        <a:p>
          <a:endParaRPr lang="de-DE"/>
        </a:p>
      </dgm:t>
    </dgm:pt>
    <dgm:pt modelId="{543F61AE-916A-4FB1-81E1-EB91D7FD8F70}" type="sibTrans" cxnId="{287D7FED-4FB8-4D1D-B719-D168C5E47442}">
      <dgm:prSet/>
      <dgm:spPr/>
      <dgm:t>
        <a:bodyPr/>
        <a:lstStyle/>
        <a:p>
          <a:endParaRPr lang="de-DE"/>
        </a:p>
      </dgm:t>
    </dgm:pt>
    <dgm:pt modelId="{F2A043CD-D44F-4330-8807-EF211B38B1D2}">
      <dgm:prSet phldrT="[Text]"/>
      <dgm:spPr/>
      <dgm:t>
        <a:bodyPr/>
        <a:lstStyle/>
        <a:p>
          <a:r>
            <a:rPr lang="de-DE" dirty="0" smtClean="0"/>
            <a:t>Sharing &amp; </a:t>
          </a:r>
          <a:r>
            <a:rPr lang="de-DE" dirty="0" err="1" smtClean="0"/>
            <a:t>Responding</a:t>
          </a:r>
          <a:endParaRPr lang="de-DE" dirty="0"/>
        </a:p>
      </dgm:t>
    </dgm:pt>
    <dgm:pt modelId="{425F95CC-1D57-4B8E-80FB-9C053FBD3E91}" type="parTrans" cxnId="{ADEDF9C4-9D4A-4644-B512-AD43EB5F6B9E}">
      <dgm:prSet/>
      <dgm:spPr/>
      <dgm:t>
        <a:bodyPr/>
        <a:lstStyle/>
        <a:p>
          <a:endParaRPr lang="de-DE"/>
        </a:p>
      </dgm:t>
    </dgm:pt>
    <dgm:pt modelId="{9A58E2A6-3061-4EFC-97D5-340B7DAFC22D}" type="sibTrans" cxnId="{ADEDF9C4-9D4A-4644-B512-AD43EB5F6B9E}">
      <dgm:prSet/>
      <dgm:spPr/>
      <dgm:t>
        <a:bodyPr/>
        <a:lstStyle/>
        <a:p>
          <a:endParaRPr lang="de-DE"/>
        </a:p>
      </dgm:t>
    </dgm:pt>
    <dgm:pt modelId="{12D4376F-D2E2-47EB-AA62-1AFA66CA4B40}" type="pres">
      <dgm:prSet presAssocID="{9B74422E-E25E-435E-BA02-382C2E8F4631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4D820732-9409-48B2-87E3-36F0FDFA1329}" type="pres">
      <dgm:prSet presAssocID="{9B74422E-E25E-435E-BA02-382C2E8F4631}" presName="matrix" presStyleCnt="0"/>
      <dgm:spPr/>
    </dgm:pt>
    <dgm:pt modelId="{F0F897BB-8169-4A1C-9D7B-BB7F43357677}" type="pres">
      <dgm:prSet presAssocID="{9B74422E-E25E-435E-BA02-382C2E8F4631}" presName="tile1" presStyleLbl="node1" presStyleIdx="0" presStyleCnt="4"/>
      <dgm:spPr/>
      <dgm:t>
        <a:bodyPr/>
        <a:lstStyle/>
        <a:p>
          <a:endParaRPr lang="de-DE"/>
        </a:p>
      </dgm:t>
    </dgm:pt>
    <dgm:pt modelId="{64019564-4034-4EC3-84A5-8E33C4D6A70B}" type="pres">
      <dgm:prSet presAssocID="{9B74422E-E25E-435E-BA02-382C2E8F4631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A5A002-E89D-4814-A423-94B0DC365C90}" type="pres">
      <dgm:prSet presAssocID="{9B74422E-E25E-435E-BA02-382C2E8F4631}" presName="tile2" presStyleLbl="node1" presStyleIdx="1" presStyleCnt="4"/>
      <dgm:spPr/>
      <dgm:t>
        <a:bodyPr/>
        <a:lstStyle/>
        <a:p>
          <a:endParaRPr lang="de-DE"/>
        </a:p>
      </dgm:t>
    </dgm:pt>
    <dgm:pt modelId="{58A97A72-74A7-496B-A119-32F73BCD78A8}" type="pres">
      <dgm:prSet presAssocID="{9B74422E-E25E-435E-BA02-382C2E8F4631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B36CEBC-482F-437D-9E74-25047ADD9062}" type="pres">
      <dgm:prSet presAssocID="{9B74422E-E25E-435E-BA02-382C2E8F4631}" presName="tile3" presStyleLbl="node1" presStyleIdx="2" presStyleCnt="4"/>
      <dgm:spPr/>
      <dgm:t>
        <a:bodyPr/>
        <a:lstStyle/>
        <a:p>
          <a:endParaRPr lang="de-DE"/>
        </a:p>
      </dgm:t>
    </dgm:pt>
    <dgm:pt modelId="{D978FC46-7199-463E-A32B-20BD933EF544}" type="pres">
      <dgm:prSet presAssocID="{9B74422E-E25E-435E-BA02-382C2E8F4631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004FAA7-4957-4A48-ABCE-4446931112D9}" type="pres">
      <dgm:prSet presAssocID="{9B74422E-E25E-435E-BA02-382C2E8F4631}" presName="tile4" presStyleLbl="node1" presStyleIdx="3" presStyleCnt="4"/>
      <dgm:spPr/>
      <dgm:t>
        <a:bodyPr/>
        <a:lstStyle/>
        <a:p>
          <a:endParaRPr lang="de-DE"/>
        </a:p>
      </dgm:t>
    </dgm:pt>
    <dgm:pt modelId="{727B7700-348A-498D-A318-B79A924914FB}" type="pres">
      <dgm:prSet presAssocID="{9B74422E-E25E-435E-BA02-382C2E8F4631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890529F-80B0-4E8B-AE73-E570C6E58AC6}" type="pres">
      <dgm:prSet presAssocID="{9B74422E-E25E-435E-BA02-382C2E8F4631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de-DE"/>
        </a:p>
      </dgm:t>
    </dgm:pt>
  </dgm:ptLst>
  <dgm:cxnLst>
    <dgm:cxn modelId="{37624DEA-38B3-4B24-8A38-5C09A2288964}" type="presOf" srcId="{8D9A57CA-D325-4388-9900-EA6B5582D91A}" destId="{D978FC46-7199-463E-A32B-20BD933EF544}" srcOrd="1" destOrd="1" presId="urn:microsoft.com/office/officeart/2005/8/layout/matrix1"/>
    <dgm:cxn modelId="{9E225A00-2B0D-444B-BD06-09DC68D704EA}" type="presOf" srcId="{6B8834C5-DA5B-4E6D-B00B-2EA56DA2EBB7}" destId="{64019564-4034-4EC3-84A5-8E33C4D6A70B}" srcOrd="1" destOrd="2" presId="urn:microsoft.com/office/officeart/2005/8/layout/matrix1"/>
    <dgm:cxn modelId="{0DAE903D-31C1-435D-9F9E-358775041A58}" type="presOf" srcId="{AD3DFDC9-EE49-4CE8-A730-3F684C4346B7}" destId="{58A97A72-74A7-496B-A119-32F73BCD78A8}" srcOrd="1" destOrd="1" presId="urn:microsoft.com/office/officeart/2005/8/layout/matrix1"/>
    <dgm:cxn modelId="{3D961936-908F-49AF-8968-EC245CD186BF}" srcId="{838FBD2D-4303-4324-AA9F-F5417C20EDF0}" destId="{E4C3E202-E169-41B7-B829-ED32B647DFB9}" srcOrd="2" destOrd="0" parTransId="{37CEA51A-80BC-41B0-BF3E-AAB08433E65D}" sibTransId="{C43D8CB5-8FE8-49B7-B5DD-2286956225C4}"/>
    <dgm:cxn modelId="{87F40876-B02D-43D2-9161-47857AF973E9}" type="presOf" srcId="{9B67EDFC-9CF5-4ACC-970A-1293B71EDB3B}" destId="{58A97A72-74A7-496B-A119-32F73BCD78A8}" srcOrd="1" destOrd="0" presId="urn:microsoft.com/office/officeart/2005/8/layout/matrix1"/>
    <dgm:cxn modelId="{60ACE76D-D540-4EDB-ABCB-E8FAFA4E2548}" type="presOf" srcId="{9B74422E-E25E-435E-BA02-382C2E8F4631}" destId="{12D4376F-D2E2-47EB-AA62-1AFA66CA4B40}" srcOrd="0" destOrd="0" presId="urn:microsoft.com/office/officeart/2005/8/layout/matrix1"/>
    <dgm:cxn modelId="{287D7FED-4FB8-4D1D-B719-D168C5E47442}" srcId="{9A6D6FDF-700C-4516-AC59-E7E57B819DED}" destId="{FB5426DE-A4F7-4820-BCF0-A1C183441D6C}" srcOrd="0" destOrd="0" parTransId="{88AC567B-ECA9-4625-B4E1-2A35254E57D2}" sibTransId="{543F61AE-916A-4FB1-81E1-EB91D7FD8F70}"/>
    <dgm:cxn modelId="{051391F9-C873-4379-A431-8C4599D23C72}" type="presOf" srcId="{2217A1BC-F806-434E-A700-6B01EE487E45}" destId="{64019564-4034-4EC3-84A5-8E33C4D6A70B}" srcOrd="1" destOrd="1" presId="urn:microsoft.com/office/officeart/2005/8/layout/matrix1"/>
    <dgm:cxn modelId="{B78FE3E6-2187-4885-91B8-2E081B38F49D}" srcId="{9B74422E-E25E-435E-BA02-382C2E8F4631}" destId="{838FBD2D-4303-4324-AA9F-F5417C20EDF0}" srcOrd="0" destOrd="0" parTransId="{86399B01-C2FB-4FCD-A2DA-66A0B9409104}" sibTransId="{CC80D6EE-DA46-441B-ADE3-67796FDF0BAD}"/>
    <dgm:cxn modelId="{2118EDC5-1158-417A-A974-35CEB149731C}" type="presOf" srcId="{E4C3E202-E169-41B7-B829-ED32B647DFB9}" destId="{7B36CEBC-482F-437D-9E74-25047ADD9062}" srcOrd="0" destOrd="0" presId="urn:microsoft.com/office/officeart/2005/8/layout/matrix1"/>
    <dgm:cxn modelId="{45670837-4D8C-4E60-AE1D-BD89B4F8AA4E}" type="presOf" srcId="{AD0DC55B-E5A7-43EF-9181-5146DA102A9E}" destId="{F0F897BB-8169-4A1C-9D7B-BB7F43357677}" srcOrd="0" destOrd="3" presId="urn:microsoft.com/office/officeart/2005/8/layout/matrix1"/>
    <dgm:cxn modelId="{FC4C4CE8-ABE4-4DE1-82D3-5788E2297E9E}" srcId="{7F5BDCA0-6D34-4302-A846-1265EE2131FA}" destId="{2217A1BC-F806-434E-A700-6B01EE487E45}" srcOrd="0" destOrd="0" parTransId="{1FA25EE8-972E-4F0D-9DA9-EB1D4BD8EF38}" sibTransId="{954F3490-FF12-4D75-8A37-F5618319EBB8}"/>
    <dgm:cxn modelId="{2F123099-A5B2-4E4E-8CA2-44182607EB16}" type="presOf" srcId="{247965F5-77D7-4A7F-8811-63355BE62A2B}" destId="{7B36CEBC-482F-437D-9E74-25047ADD9062}" srcOrd="0" destOrd="3" presId="urn:microsoft.com/office/officeart/2005/8/layout/matrix1"/>
    <dgm:cxn modelId="{958C6C1A-841B-4434-81F7-59189A8172FA}" type="presOf" srcId="{7F5BDCA0-6D34-4302-A846-1265EE2131FA}" destId="{F0F897BB-8169-4A1C-9D7B-BB7F43357677}" srcOrd="0" destOrd="0" presId="urn:microsoft.com/office/officeart/2005/8/layout/matrix1"/>
    <dgm:cxn modelId="{40C7F86D-92D8-4BA6-B36B-B5DB9F11EDE3}" type="presOf" srcId="{6B8834C5-DA5B-4E6D-B00B-2EA56DA2EBB7}" destId="{F0F897BB-8169-4A1C-9D7B-BB7F43357677}" srcOrd="0" destOrd="2" presId="urn:microsoft.com/office/officeart/2005/8/layout/matrix1"/>
    <dgm:cxn modelId="{EC448F54-4380-4121-A203-56B47A8E7E9F}" srcId="{7F5BDCA0-6D34-4302-A846-1265EE2131FA}" destId="{AD0DC55B-E5A7-43EF-9181-5146DA102A9E}" srcOrd="2" destOrd="0" parTransId="{1BD93F4C-38A8-492F-B7AD-A47C73D9926C}" sibTransId="{963CB913-60AF-49FB-9B1F-44CDB0535532}"/>
    <dgm:cxn modelId="{4105EC10-BD2E-4036-B128-624762D800F5}" type="presOf" srcId="{F2A043CD-D44F-4330-8807-EF211B38B1D2}" destId="{727B7700-348A-498D-A318-B79A924914FB}" srcOrd="1" destOrd="2" presId="urn:microsoft.com/office/officeart/2005/8/layout/matrix1"/>
    <dgm:cxn modelId="{996AD004-59A1-42A6-BCCD-6DEB5F1608EF}" type="presOf" srcId="{AD0DC55B-E5A7-43EF-9181-5146DA102A9E}" destId="{64019564-4034-4EC3-84A5-8E33C4D6A70B}" srcOrd="1" destOrd="3" presId="urn:microsoft.com/office/officeart/2005/8/layout/matrix1"/>
    <dgm:cxn modelId="{7345B3E8-9B98-47E6-987D-33A05F0708D1}" type="presOf" srcId="{9B67EDFC-9CF5-4ACC-970A-1293B71EDB3B}" destId="{00A5A002-E89D-4814-A423-94B0DC365C90}" srcOrd="0" destOrd="0" presId="urn:microsoft.com/office/officeart/2005/8/layout/matrix1"/>
    <dgm:cxn modelId="{4CC9065E-27A3-4C8F-8D29-71380AF0DCD2}" type="presOf" srcId="{8D9A57CA-D325-4388-9900-EA6B5582D91A}" destId="{7B36CEBC-482F-437D-9E74-25047ADD9062}" srcOrd="0" destOrd="1" presId="urn:microsoft.com/office/officeart/2005/8/layout/matrix1"/>
    <dgm:cxn modelId="{5565B0A0-54E8-48A9-86CA-F93E4445C6C0}" type="presOf" srcId="{6F6B064D-3763-40B4-A19F-A62737EA9112}" destId="{58A97A72-74A7-496B-A119-32F73BCD78A8}" srcOrd="1" destOrd="2" presId="urn:microsoft.com/office/officeart/2005/8/layout/matrix1"/>
    <dgm:cxn modelId="{269D213F-2DBA-4149-B793-080E8FEC5021}" type="presOf" srcId="{AD3DFDC9-EE49-4CE8-A730-3F684C4346B7}" destId="{00A5A002-E89D-4814-A423-94B0DC365C90}" srcOrd="0" destOrd="1" presId="urn:microsoft.com/office/officeart/2005/8/layout/matrix1"/>
    <dgm:cxn modelId="{5621AE27-288E-4526-866C-8C32D9218EE0}" srcId="{E4C3E202-E169-41B7-B829-ED32B647DFB9}" destId="{8D9A57CA-D325-4388-9900-EA6B5582D91A}" srcOrd="0" destOrd="0" parTransId="{4F98679E-2526-4079-96BD-E2E2284B85C2}" sibTransId="{9BA71B07-2061-4D96-B4DA-904A38ED6EEC}"/>
    <dgm:cxn modelId="{CC5F32BC-C493-43FE-9161-62883C3F089B}" srcId="{838FBD2D-4303-4324-AA9F-F5417C20EDF0}" destId="{9A6D6FDF-700C-4516-AC59-E7E57B819DED}" srcOrd="3" destOrd="0" parTransId="{5CE8DF6A-5D61-492F-881D-FEF7CA8B86BF}" sibTransId="{FCC74A53-7DF9-47AB-8FEC-1A9929435D67}"/>
    <dgm:cxn modelId="{B867C104-3E53-4BAA-A36B-3886538B2B96}" type="presOf" srcId="{67FF7DEB-A1EA-41EA-BE02-D08CE0E1D4CF}" destId="{7B36CEBC-482F-437D-9E74-25047ADD9062}" srcOrd="0" destOrd="2" presId="urn:microsoft.com/office/officeart/2005/8/layout/matrix1"/>
    <dgm:cxn modelId="{FE17ED73-0A03-4345-9DAB-000079406B79}" type="presOf" srcId="{247965F5-77D7-4A7F-8811-63355BE62A2B}" destId="{D978FC46-7199-463E-A32B-20BD933EF544}" srcOrd="1" destOrd="3" presId="urn:microsoft.com/office/officeart/2005/8/layout/matrix1"/>
    <dgm:cxn modelId="{BD51364E-4958-473C-A668-A76E4635C763}" srcId="{9B67EDFC-9CF5-4ACC-970A-1293B71EDB3B}" destId="{6F6B064D-3763-40B4-A19F-A62737EA9112}" srcOrd="1" destOrd="0" parTransId="{7C7A0C61-8289-42A0-93CE-E72C9C349987}" sibTransId="{312FDD28-2CDE-4A60-97C9-18BC88F09AB6}"/>
    <dgm:cxn modelId="{FC7FD448-2699-46FB-AD20-26968A51C10C}" type="presOf" srcId="{2217A1BC-F806-434E-A700-6B01EE487E45}" destId="{F0F897BB-8169-4A1C-9D7B-BB7F43357677}" srcOrd="0" destOrd="1" presId="urn:microsoft.com/office/officeart/2005/8/layout/matrix1"/>
    <dgm:cxn modelId="{6B90ADF1-6D56-47B3-B020-A5696B4F71D6}" srcId="{838FBD2D-4303-4324-AA9F-F5417C20EDF0}" destId="{9B67EDFC-9CF5-4ACC-970A-1293B71EDB3B}" srcOrd="1" destOrd="0" parTransId="{1AD2E441-EA74-4F32-BDEA-1E51D5F76463}" sibTransId="{1940026A-8503-434A-ACA2-FFC5AC4496D3}"/>
    <dgm:cxn modelId="{4B858B2A-F116-4FF6-8F77-7F9202874277}" type="presOf" srcId="{FB5426DE-A4F7-4820-BCF0-A1C183441D6C}" destId="{727B7700-348A-498D-A318-B79A924914FB}" srcOrd="1" destOrd="1" presId="urn:microsoft.com/office/officeart/2005/8/layout/matrix1"/>
    <dgm:cxn modelId="{0E9BE662-C2C5-418A-874A-24B388E66DED}" type="presOf" srcId="{9A6D6FDF-700C-4516-AC59-E7E57B819DED}" destId="{727B7700-348A-498D-A318-B79A924914FB}" srcOrd="1" destOrd="0" presId="urn:microsoft.com/office/officeart/2005/8/layout/matrix1"/>
    <dgm:cxn modelId="{5C2AE5D9-4D20-4E0B-A39C-0F79882BE5FD}" srcId="{9B67EDFC-9CF5-4ACC-970A-1293B71EDB3B}" destId="{EA087997-FE51-4B84-A060-A0BCB36571FE}" srcOrd="2" destOrd="0" parTransId="{8221C4F1-55CF-4CDA-9683-B4D9CA6884D8}" sibTransId="{C710D145-382F-4528-96E9-7712EF71D314}"/>
    <dgm:cxn modelId="{C1CC3E3E-0E52-48C5-867E-C2E84BAFE129}" type="presOf" srcId="{FB5426DE-A4F7-4820-BCF0-A1C183441D6C}" destId="{F004FAA7-4957-4A48-ABCE-4446931112D9}" srcOrd="0" destOrd="1" presId="urn:microsoft.com/office/officeart/2005/8/layout/matrix1"/>
    <dgm:cxn modelId="{3DA79380-3BE4-45D5-BF63-8684DC5EDAC0}" type="presOf" srcId="{9A6D6FDF-700C-4516-AC59-E7E57B819DED}" destId="{F004FAA7-4957-4A48-ABCE-4446931112D9}" srcOrd="0" destOrd="0" presId="urn:microsoft.com/office/officeart/2005/8/layout/matrix1"/>
    <dgm:cxn modelId="{8046AB2E-4D84-44B6-8D93-43341CEC23C3}" type="presOf" srcId="{838FBD2D-4303-4324-AA9F-F5417C20EDF0}" destId="{A890529F-80B0-4E8B-AE73-E570C6E58AC6}" srcOrd="0" destOrd="0" presId="urn:microsoft.com/office/officeart/2005/8/layout/matrix1"/>
    <dgm:cxn modelId="{04071905-589C-4FC4-988E-9A0FEF09FDBA}" srcId="{E4C3E202-E169-41B7-B829-ED32B647DFB9}" destId="{67FF7DEB-A1EA-41EA-BE02-D08CE0E1D4CF}" srcOrd="1" destOrd="0" parTransId="{8A2778A5-3AAF-4879-A0D2-13E2E22D1825}" sibTransId="{F2575285-A47B-4396-90B8-C87451C332D7}"/>
    <dgm:cxn modelId="{005C761F-A658-4912-A798-23B3898475F4}" type="presOf" srcId="{7F5BDCA0-6D34-4302-A846-1265EE2131FA}" destId="{64019564-4034-4EC3-84A5-8E33C4D6A70B}" srcOrd="1" destOrd="0" presId="urn:microsoft.com/office/officeart/2005/8/layout/matrix1"/>
    <dgm:cxn modelId="{ACA3A82F-1B01-4500-8174-CA0ED159DC1E}" type="presOf" srcId="{67FF7DEB-A1EA-41EA-BE02-D08CE0E1D4CF}" destId="{D978FC46-7199-463E-A32B-20BD933EF544}" srcOrd="1" destOrd="2" presId="urn:microsoft.com/office/officeart/2005/8/layout/matrix1"/>
    <dgm:cxn modelId="{1A222AC3-A4EC-4C13-992B-6625751942B9}" type="presOf" srcId="{EA087997-FE51-4B84-A060-A0BCB36571FE}" destId="{00A5A002-E89D-4814-A423-94B0DC365C90}" srcOrd="0" destOrd="3" presId="urn:microsoft.com/office/officeart/2005/8/layout/matrix1"/>
    <dgm:cxn modelId="{6C3289FD-48D4-46F1-9928-FD297A205F5E}" srcId="{E4C3E202-E169-41B7-B829-ED32B647DFB9}" destId="{247965F5-77D7-4A7F-8811-63355BE62A2B}" srcOrd="2" destOrd="0" parTransId="{AF577C8C-A2D1-4AB1-9E48-7975B52554FC}" sibTransId="{497387AB-E44F-4336-84E7-03F0BB13CC9A}"/>
    <dgm:cxn modelId="{53B162E7-7179-43C8-9E6D-6502E46139D7}" srcId="{7F5BDCA0-6D34-4302-A846-1265EE2131FA}" destId="{6B8834C5-DA5B-4E6D-B00B-2EA56DA2EBB7}" srcOrd="1" destOrd="0" parTransId="{ADDAE09D-8FC4-48DD-9431-EB42FD8203EE}" sibTransId="{C99F33EB-83A8-474D-8337-1E0B5EE2AC9E}"/>
    <dgm:cxn modelId="{6B19BF36-895A-4ACC-8F51-EEFC92DA8A4C}" srcId="{9B67EDFC-9CF5-4ACC-970A-1293B71EDB3B}" destId="{AD3DFDC9-EE49-4CE8-A730-3F684C4346B7}" srcOrd="0" destOrd="0" parTransId="{738C297C-FFFC-4F9A-8773-3255C799D89A}" sibTransId="{BA1DA114-F3B6-4033-AEAF-2DB5882062EC}"/>
    <dgm:cxn modelId="{ADEDF9C4-9D4A-4644-B512-AD43EB5F6B9E}" srcId="{9A6D6FDF-700C-4516-AC59-E7E57B819DED}" destId="{F2A043CD-D44F-4330-8807-EF211B38B1D2}" srcOrd="1" destOrd="0" parTransId="{425F95CC-1D57-4B8E-80FB-9C053FBD3E91}" sibTransId="{9A58E2A6-3061-4EFC-97D5-340B7DAFC22D}"/>
    <dgm:cxn modelId="{33280FF7-CD91-4BFC-8A74-3FE4B6FEE24C}" type="presOf" srcId="{F2A043CD-D44F-4330-8807-EF211B38B1D2}" destId="{F004FAA7-4957-4A48-ABCE-4446931112D9}" srcOrd="0" destOrd="2" presId="urn:microsoft.com/office/officeart/2005/8/layout/matrix1"/>
    <dgm:cxn modelId="{64511DE6-667B-49A0-9DDB-B991A9A4EED5}" type="presOf" srcId="{E4C3E202-E169-41B7-B829-ED32B647DFB9}" destId="{D978FC46-7199-463E-A32B-20BD933EF544}" srcOrd="1" destOrd="0" presId="urn:microsoft.com/office/officeart/2005/8/layout/matrix1"/>
    <dgm:cxn modelId="{8B1AF0D1-34C2-4035-A790-B111772DF8FB}" type="presOf" srcId="{EA087997-FE51-4B84-A060-A0BCB36571FE}" destId="{58A97A72-74A7-496B-A119-32F73BCD78A8}" srcOrd="1" destOrd="3" presId="urn:microsoft.com/office/officeart/2005/8/layout/matrix1"/>
    <dgm:cxn modelId="{580A1734-5B17-4EB7-B18D-FCECE72B628A}" srcId="{838FBD2D-4303-4324-AA9F-F5417C20EDF0}" destId="{7F5BDCA0-6D34-4302-A846-1265EE2131FA}" srcOrd="0" destOrd="0" parTransId="{94B34287-9A31-496D-8498-DB8D9732A592}" sibTransId="{FE1FB0F0-D03D-41DE-A1B3-C92FC5F248F5}"/>
    <dgm:cxn modelId="{AA1A4012-9802-4955-8BA4-B88B625584EA}" type="presOf" srcId="{6F6B064D-3763-40B4-A19F-A62737EA9112}" destId="{00A5A002-E89D-4814-A423-94B0DC365C90}" srcOrd="0" destOrd="2" presId="urn:microsoft.com/office/officeart/2005/8/layout/matrix1"/>
    <dgm:cxn modelId="{435FC050-BDAD-4E02-BD91-102961B0CB90}" type="presParOf" srcId="{12D4376F-D2E2-47EB-AA62-1AFA66CA4B40}" destId="{4D820732-9409-48B2-87E3-36F0FDFA1329}" srcOrd="0" destOrd="0" presId="urn:microsoft.com/office/officeart/2005/8/layout/matrix1"/>
    <dgm:cxn modelId="{38FB0A24-5C59-419E-81E2-F37CF975F3FF}" type="presParOf" srcId="{4D820732-9409-48B2-87E3-36F0FDFA1329}" destId="{F0F897BB-8169-4A1C-9D7B-BB7F43357677}" srcOrd="0" destOrd="0" presId="urn:microsoft.com/office/officeart/2005/8/layout/matrix1"/>
    <dgm:cxn modelId="{65BA56AC-1C09-4525-9A19-FEA1D5DB7804}" type="presParOf" srcId="{4D820732-9409-48B2-87E3-36F0FDFA1329}" destId="{64019564-4034-4EC3-84A5-8E33C4D6A70B}" srcOrd="1" destOrd="0" presId="urn:microsoft.com/office/officeart/2005/8/layout/matrix1"/>
    <dgm:cxn modelId="{39933758-80C5-4567-95E4-41418651E1FE}" type="presParOf" srcId="{4D820732-9409-48B2-87E3-36F0FDFA1329}" destId="{00A5A002-E89D-4814-A423-94B0DC365C90}" srcOrd="2" destOrd="0" presId="urn:microsoft.com/office/officeart/2005/8/layout/matrix1"/>
    <dgm:cxn modelId="{43DAE47E-03D7-472D-95AC-7592B78F67F6}" type="presParOf" srcId="{4D820732-9409-48B2-87E3-36F0FDFA1329}" destId="{58A97A72-74A7-496B-A119-32F73BCD78A8}" srcOrd="3" destOrd="0" presId="urn:microsoft.com/office/officeart/2005/8/layout/matrix1"/>
    <dgm:cxn modelId="{2389ADC8-844B-40F9-B37E-4C72E1EB5A64}" type="presParOf" srcId="{4D820732-9409-48B2-87E3-36F0FDFA1329}" destId="{7B36CEBC-482F-437D-9E74-25047ADD9062}" srcOrd="4" destOrd="0" presId="urn:microsoft.com/office/officeart/2005/8/layout/matrix1"/>
    <dgm:cxn modelId="{2A8361C3-4899-42BA-B3DA-17130561EF17}" type="presParOf" srcId="{4D820732-9409-48B2-87E3-36F0FDFA1329}" destId="{D978FC46-7199-463E-A32B-20BD933EF544}" srcOrd="5" destOrd="0" presId="urn:microsoft.com/office/officeart/2005/8/layout/matrix1"/>
    <dgm:cxn modelId="{637572F1-AF6B-4663-AA6D-0351CBB6EC85}" type="presParOf" srcId="{4D820732-9409-48B2-87E3-36F0FDFA1329}" destId="{F004FAA7-4957-4A48-ABCE-4446931112D9}" srcOrd="6" destOrd="0" presId="urn:microsoft.com/office/officeart/2005/8/layout/matrix1"/>
    <dgm:cxn modelId="{34CD6383-39B2-494C-9817-57DD3B121484}" type="presParOf" srcId="{4D820732-9409-48B2-87E3-36F0FDFA1329}" destId="{727B7700-348A-498D-A318-B79A924914FB}" srcOrd="7" destOrd="0" presId="urn:microsoft.com/office/officeart/2005/8/layout/matrix1"/>
    <dgm:cxn modelId="{7921C8F5-EF23-4EEE-974E-02FE4C8E96DA}" type="presParOf" srcId="{12D4376F-D2E2-47EB-AA62-1AFA66CA4B40}" destId="{A890529F-80B0-4E8B-AE73-E570C6E58AC6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69887B1-69CF-4418-85AD-8D1FE890F082}" type="doc">
      <dgm:prSet loTypeId="urn:microsoft.com/office/officeart/2005/8/layout/chevron1" loCatId="process" qsTypeId="urn:microsoft.com/office/officeart/2005/8/quickstyle/simple1" qsCatId="simple" csTypeId="urn:microsoft.com/office/officeart/2005/8/colors/colorful2" csCatId="colorful" phldr="1"/>
      <dgm:spPr/>
    </dgm:pt>
    <dgm:pt modelId="{93762AA3-EF78-43DE-BB5E-DF899EF74527}">
      <dgm:prSet phldrT="[Text]"/>
      <dgm:spPr/>
      <dgm:t>
        <a:bodyPr/>
        <a:lstStyle/>
        <a:p>
          <a:r>
            <a:rPr lang="de-DE" dirty="0" smtClean="0"/>
            <a:t>Auswertung Umfrage </a:t>
          </a:r>
          <a:r>
            <a:rPr lang="de-DE" dirty="0" err="1" smtClean="0"/>
            <a:t>WiSe</a:t>
          </a:r>
          <a:r>
            <a:rPr lang="de-DE" dirty="0" smtClean="0"/>
            <a:t> 22/23 &amp; Erfahrungen der </a:t>
          </a:r>
          <a:r>
            <a:rPr lang="de-DE" dirty="0" err="1" smtClean="0"/>
            <a:t>Tutor:innen</a:t>
          </a:r>
          <a:r>
            <a:rPr lang="de-DE" dirty="0" smtClean="0"/>
            <a:t>/ Lehrbeauftragten</a:t>
          </a:r>
          <a:endParaRPr lang="de-DE" dirty="0"/>
        </a:p>
      </dgm:t>
    </dgm:pt>
    <dgm:pt modelId="{0AECD95E-C0C0-4B17-83B7-A6549BC4DFF0}" type="parTrans" cxnId="{88854148-FEC1-4572-934E-D1284C5B9BEC}">
      <dgm:prSet/>
      <dgm:spPr/>
      <dgm:t>
        <a:bodyPr/>
        <a:lstStyle/>
        <a:p>
          <a:endParaRPr lang="de-DE"/>
        </a:p>
      </dgm:t>
    </dgm:pt>
    <dgm:pt modelId="{3E6047BB-0EA2-40EE-995E-F75E7CDECAFA}" type="sibTrans" cxnId="{88854148-FEC1-4572-934E-D1284C5B9BEC}">
      <dgm:prSet/>
      <dgm:spPr/>
      <dgm:t>
        <a:bodyPr/>
        <a:lstStyle/>
        <a:p>
          <a:endParaRPr lang="de-DE"/>
        </a:p>
      </dgm:t>
    </dgm:pt>
    <dgm:pt modelId="{36D604A2-F3B2-4B38-9666-A4E3034577B0}">
      <dgm:prSet phldrT="[Text]"/>
      <dgm:spPr/>
      <dgm:t>
        <a:bodyPr/>
        <a:lstStyle/>
        <a:p>
          <a:r>
            <a:rPr lang="de-DE" dirty="0" smtClean="0"/>
            <a:t>Weiterentwicklung Qualifizierung</a:t>
          </a:r>
          <a:endParaRPr lang="de-DE" dirty="0"/>
        </a:p>
      </dgm:t>
    </dgm:pt>
    <dgm:pt modelId="{8D393A4E-D73B-4C9A-8672-101461167E4A}" type="parTrans" cxnId="{8BA08ED5-A555-414D-8224-A9DA96160B21}">
      <dgm:prSet/>
      <dgm:spPr/>
      <dgm:t>
        <a:bodyPr/>
        <a:lstStyle/>
        <a:p>
          <a:endParaRPr lang="de-DE"/>
        </a:p>
      </dgm:t>
    </dgm:pt>
    <dgm:pt modelId="{947821C7-E9D3-4CD4-80C4-479F7A5C5E1A}" type="sibTrans" cxnId="{8BA08ED5-A555-414D-8224-A9DA96160B21}">
      <dgm:prSet/>
      <dgm:spPr/>
      <dgm:t>
        <a:bodyPr/>
        <a:lstStyle/>
        <a:p>
          <a:endParaRPr lang="de-DE"/>
        </a:p>
      </dgm:t>
    </dgm:pt>
    <dgm:pt modelId="{F32511B4-7D12-47E3-AFA5-211A58FFEC64}">
      <dgm:prSet phldrT="[Text]"/>
      <dgm:spPr/>
      <dgm:t>
        <a:bodyPr/>
        <a:lstStyle/>
        <a:p>
          <a:r>
            <a:rPr lang="de-DE" dirty="0" smtClean="0"/>
            <a:t>Weiterentwicklung digitale Elemente</a:t>
          </a:r>
          <a:endParaRPr lang="de-DE" dirty="0"/>
        </a:p>
      </dgm:t>
    </dgm:pt>
    <dgm:pt modelId="{CC5F17FE-0F1D-4BFE-AE57-DF91F6DD8536}" type="parTrans" cxnId="{A67ADE3B-4883-4C03-84C7-71AC05D3F031}">
      <dgm:prSet/>
      <dgm:spPr/>
      <dgm:t>
        <a:bodyPr/>
        <a:lstStyle/>
        <a:p>
          <a:endParaRPr lang="de-DE"/>
        </a:p>
      </dgm:t>
    </dgm:pt>
    <dgm:pt modelId="{9986503D-E638-41FD-BCC6-45DBDFF10220}" type="sibTrans" cxnId="{A67ADE3B-4883-4C03-84C7-71AC05D3F031}">
      <dgm:prSet/>
      <dgm:spPr/>
      <dgm:t>
        <a:bodyPr/>
        <a:lstStyle/>
        <a:p>
          <a:endParaRPr lang="de-DE"/>
        </a:p>
      </dgm:t>
    </dgm:pt>
    <dgm:pt modelId="{8A118B3B-9598-40F2-A930-259BB0CBDCE6}">
      <dgm:prSet phldrT="[Text]"/>
      <dgm:spPr/>
      <dgm:t>
        <a:bodyPr/>
        <a:lstStyle/>
        <a:p>
          <a:r>
            <a:rPr lang="de-DE" dirty="0" smtClean="0"/>
            <a:t>Überarbeitung Konzept</a:t>
          </a:r>
          <a:endParaRPr lang="de-DE" dirty="0"/>
        </a:p>
      </dgm:t>
    </dgm:pt>
    <dgm:pt modelId="{BEC426D7-9E52-4D19-A22F-F542F466100D}" type="parTrans" cxnId="{D1CCC867-458C-410E-82B5-56385741E1BB}">
      <dgm:prSet/>
      <dgm:spPr/>
      <dgm:t>
        <a:bodyPr/>
        <a:lstStyle/>
        <a:p>
          <a:endParaRPr lang="de-DE"/>
        </a:p>
      </dgm:t>
    </dgm:pt>
    <dgm:pt modelId="{8B771712-FB09-4343-A74E-5C2EF72C8D5B}" type="sibTrans" cxnId="{D1CCC867-458C-410E-82B5-56385741E1BB}">
      <dgm:prSet/>
      <dgm:spPr/>
      <dgm:t>
        <a:bodyPr/>
        <a:lstStyle/>
        <a:p>
          <a:endParaRPr lang="de-DE"/>
        </a:p>
      </dgm:t>
    </dgm:pt>
    <dgm:pt modelId="{C8B9C084-216E-42EC-B7D7-52AB68897E38}">
      <dgm:prSet phldrT="[Text]"/>
      <dgm:spPr/>
      <dgm:t>
        <a:bodyPr/>
        <a:lstStyle/>
        <a:p>
          <a:r>
            <a:rPr lang="de-DE" dirty="0" smtClean="0"/>
            <a:t>Ausweitung des Konzepts auf alle Lerngruppen</a:t>
          </a:r>
          <a:endParaRPr lang="de-DE" dirty="0"/>
        </a:p>
      </dgm:t>
    </dgm:pt>
    <dgm:pt modelId="{7B3230DD-D378-4005-8828-BC959B13A972}" type="parTrans" cxnId="{24545A77-198A-4AAC-87F1-8541722B3848}">
      <dgm:prSet/>
      <dgm:spPr/>
      <dgm:t>
        <a:bodyPr/>
        <a:lstStyle/>
        <a:p>
          <a:endParaRPr lang="de-DE"/>
        </a:p>
      </dgm:t>
    </dgm:pt>
    <dgm:pt modelId="{6E725180-90D7-4048-B9F7-F3B9D722AC29}" type="sibTrans" cxnId="{24545A77-198A-4AAC-87F1-8541722B3848}">
      <dgm:prSet/>
      <dgm:spPr/>
      <dgm:t>
        <a:bodyPr/>
        <a:lstStyle/>
        <a:p>
          <a:endParaRPr lang="de-DE"/>
        </a:p>
      </dgm:t>
    </dgm:pt>
    <dgm:pt modelId="{49D2F9D4-3F4E-4C25-AB98-E2B14C83E03D}">
      <dgm:prSet phldrT="[Text]"/>
      <dgm:spPr/>
      <dgm:t>
        <a:bodyPr/>
        <a:lstStyle/>
        <a:p>
          <a:r>
            <a:rPr lang="de-DE" dirty="0" smtClean="0"/>
            <a:t>Erweiterung der Teilleistungen</a:t>
          </a:r>
          <a:endParaRPr lang="de-DE" dirty="0"/>
        </a:p>
      </dgm:t>
    </dgm:pt>
    <dgm:pt modelId="{502AA4F3-3C70-40A0-80C5-9B691530085A}" type="parTrans" cxnId="{5FE3B2ED-950A-404B-B374-3CE68F49109E}">
      <dgm:prSet/>
      <dgm:spPr/>
      <dgm:t>
        <a:bodyPr/>
        <a:lstStyle/>
        <a:p>
          <a:endParaRPr lang="de-DE"/>
        </a:p>
      </dgm:t>
    </dgm:pt>
    <dgm:pt modelId="{45615EA1-209B-4AA7-8B4D-0B51E13186D1}" type="sibTrans" cxnId="{5FE3B2ED-950A-404B-B374-3CE68F49109E}">
      <dgm:prSet/>
      <dgm:spPr/>
      <dgm:t>
        <a:bodyPr/>
        <a:lstStyle/>
        <a:p>
          <a:endParaRPr lang="de-DE"/>
        </a:p>
      </dgm:t>
    </dgm:pt>
    <dgm:pt modelId="{D6A3095E-4328-40FC-9341-62C35F8362AC}">
      <dgm:prSet phldrT="[Text]"/>
      <dgm:spPr/>
      <dgm:t>
        <a:bodyPr/>
        <a:lstStyle/>
        <a:p>
          <a:r>
            <a:rPr lang="de-DE" dirty="0" smtClean="0"/>
            <a:t>Rekrutierung von </a:t>
          </a:r>
          <a:r>
            <a:rPr lang="de-DE" dirty="0" err="1" smtClean="0"/>
            <a:t>Tutor:innen</a:t>
          </a:r>
          <a:endParaRPr lang="de-DE" dirty="0"/>
        </a:p>
      </dgm:t>
    </dgm:pt>
    <dgm:pt modelId="{35AF8EB0-4D63-4226-B344-F4831D487D0E}" type="parTrans" cxnId="{493C1B46-1D93-466D-8E6D-13DA06681F89}">
      <dgm:prSet/>
      <dgm:spPr/>
      <dgm:t>
        <a:bodyPr/>
        <a:lstStyle/>
        <a:p>
          <a:endParaRPr lang="de-DE"/>
        </a:p>
      </dgm:t>
    </dgm:pt>
    <dgm:pt modelId="{077060A3-F955-409A-B595-1CE41D6316C8}" type="sibTrans" cxnId="{493C1B46-1D93-466D-8E6D-13DA06681F89}">
      <dgm:prSet/>
      <dgm:spPr/>
      <dgm:t>
        <a:bodyPr/>
        <a:lstStyle/>
        <a:p>
          <a:endParaRPr lang="de-DE"/>
        </a:p>
      </dgm:t>
    </dgm:pt>
    <dgm:pt modelId="{B8BC65D7-2E7E-4A30-AB3E-9434F412A6BB}">
      <dgm:prSet phldrT="[Text]"/>
      <dgm:spPr/>
      <dgm:t>
        <a:bodyPr/>
        <a:lstStyle/>
        <a:p>
          <a:r>
            <a:rPr lang="de-DE" dirty="0" smtClean="0"/>
            <a:t>Themen:</a:t>
          </a:r>
          <a:endParaRPr lang="de-DE" dirty="0"/>
        </a:p>
      </dgm:t>
    </dgm:pt>
    <dgm:pt modelId="{4E9B1550-A3F7-49C7-8A23-22603CF7D6D4}" type="parTrans" cxnId="{15F30136-E939-45B9-ADFB-ECAD53CF6783}">
      <dgm:prSet/>
      <dgm:spPr/>
      <dgm:t>
        <a:bodyPr/>
        <a:lstStyle/>
        <a:p>
          <a:endParaRPr lang="de-DE"/>
        </a:p>
      </dgm:t>
    </dgm:pt>
    <dgm:pt modelId="{EBEEBF58-9C99-481A-B21A-9F8702DBDF4B}" type="sibTrans" cxnId="{15F30136-E939-45B9-ADFB-ECAD53CF6783}">
      <dgm:prSet/>
      <dgm:spPr/>
      <dgm:t>
        <a:bodyPr/>
        <a:lstStyle/>
        <a:p>
          <a:endParaRPr lang="de-DE"/>
        </a:p>
      </dgm:t>
    </dgm:pt>
    <dgm:pt modelId="{385D90F8-7E56-41F8-8DBB-572FD23197EE}">
      <dgm:prSet phldrT="[Text]"/>
      <dgm:spPr/>
      <dgm:t>
        <a:bodyPr/>
        <a:lstStyle/>
        <a:p>
          <a:r>
            <a:rPr lang="de-DE" dirty="0" smtClean="0"/>
            <a:t>Wissenschaftliches Arbeiten</a:t>
          </a:r>
          <a:endParaRPr lang="de-DE" dirty="0"/>
        </a:p>
      </dgm:t>
    </dgm:pt>
    <dgm:pt modelId="{C41585BF-B34B-4B66-89D9-3AE2D1D997F5}" type="parTrans" cxnId="{AB149F0C-E213-42AE-A4AC-94F6C50BEC8D}">
      <dgm:prSet/>
      <dgm:spPr/>
      <dgm:t>
        <a:bodyPr/>
        <a:lstStyle/>
        <a:p>
          <a:endParaRPr lang="de-DE"/>
        </a:p>
      </dgm:t>
    </dgm:pt>
    <dgm:pt modelId="{9FDE8472-885D-44CE-8E11-6029EEB50986}" type="sibTrans" cxnId="{AB149F0C-E213-42AE-A4AC-94F6C50BEC8D}">
      <dgm:prSet/>
      <dgm:spPr/>
      <dgm:t>
        <a:bodyPr/>
        <a:lstStyle/>
        <a:p>
          <a:endParaRPr lang="de-DE"/>
        </a:p>
      </dgm:t>
    </dgm:pt>
    <dgm:pt modelId="{761F8DD8-0995-4B9E-8551-EB72CCF9F46A}">
      <dgm:prSet phldrT="[Text]"/>
      <dgm:spPr/>
      <dgm:t>
        <a:bodyPr/>
        <a:lstStyle/>
        <a:p>
          <a:r>
            <a:rPr lang="de-DE" dirty="0" smtClean="0"/>
            <a:t>Feedback</a:t>
          </a:r>
          <a:endParaRPr lang="de-DE" dirty="0"/>
        </a:p>
      </dgm:t>
    </dgm:pt>
    <dgm:pt modelId="{582C9BBE-2A15-441C-A596-40CD5B582247}" type="parTrans" cxnId="{A491E6D8-A0B1-4938-8432-4525E8E93563}">
      <dgm:prSet/>
      <dgm:spPr/>
      <dgm:t>
        <a:bodyPr/>
        <a:lstStyle/>
        <a:p>
          <a:endParaRPr lang="de-DE"/>
        </a:p>
      </dgm:t>
    </dgm:pt>
    <dgm:pt modelId="{2392A2B3-5B34-4B54-BF12-38BA23258EB3}" type="sibTrans" cxnId="{A491E6D8-A0B1-4938-8432-4525E8E93563}">
      <dgm:prSet/>
      <dgm:spPr/>
      <dgm:t>
        <a:bodyPr/>
        <a:lstStyle/>
        <a:p>
          <a:endParaRPr lang="de-DE"/>
        </a:p>
      </dgm:t>
    </dgm:pt>
    <dgm:pt modelId="{4160EE94-1421-4AC1-97FF-6D748458EA95}">
      <dgm:prSet phldrT="[Text]"/>
      <dgm:spPr/>
      <dgm:t>
        <a:bodyPr/>
        <a:lstStyle/>
        <a:p>
          <a:r>
            <a:rPr lang="de-DE" dirty="0" smtClean="0"/>
            <a:t>Tutorium</a:t>
          </a:r>
          <a:endParaRPr lang="de-DE" dirty="0"/>
        </a:p>
      </dgm:t>
    </dgm:pt>
    <dgm:pt modelId="{22102C0F-EEA8-413E-99F3-4EEABB13DFA8}" type="parTrans" cxnId="{88F66B69-226E-42DC-8284-1B09DEF73DFC}">
      <dgm:prSet/>
      <dgm:spPr/>
      <dgm:t>
        <a:bodyPr/>
        <a:lstStyle/>
        <a:p>
          <a:endParaRPr lang="de-DE"/>
        </a:p>
      </dgm:t>
    </dgm:pt>
    <dgm:pt modelId="{69A448DF-AC9A-46FA-BE9D-3DC743FAFDAA}" type="sibTrans" cxnId="{88F66B69-226E-42DC-8284-1B09DEF73DFC}">
      <dgm:prSet/>
      <dgm:spPr/>
      <dgm:t>
        <a:bodyPr/>
        <a:lstStyle/>
        <a:p>
          <a:endParaRPr lang="de-DE"/>
        </a:p>
      </dgm:t>
    </dgm:pt>
    <dgm:pt modelId="{9120D1A1-E5AF-4BE2-B89F-7BFC5A1AD9A0}">
      <dgm:prSet phldrT="[Text]"/>
      <dgm:spPr/>
      <dgm:t>
        <a:bodyPr/>
        <a:lstStyle/>
        <a:p>
          <a:r>
            <a:rPr lang="de-DE" dirty="0" smtClean="0"/>
            <a:t>Einbau neuer Elemente</a:t>
          </a:r>
          <a:endParaRPr lang="de-DE" dirty="0"/>
        </a:p>
      </dgm:t>
    </dgm:pt>
    <dgm:pt modelId="{51A14A35-6829-4FEB-9ED2-EFE3B8879C8A}" type="parTrans" cxnId="{652AD136-DDEF-4805-969B-0874165D7DB9}">
      <dgm:prSet/>
      <dgm:spPr/>
      <dgm:t>
        <a:bodyPr/>
        <a:lstStyle/>
        <a:p>
          <a:endParaRPr lang="de-DE"/>
        </a:p>
      </dgm:t>
    </dgm:pt>
    <dgm:pt modelId="{B3FB6DA7-1221-483F-8BB3-D25CFBA24BD0}" type="sibTrans" cxnId="{652AD136-DDEF-4805-969B-0874165D7DB9}">
      <dgm:prSet/>
      <dgm:spPr/>
      <dgm:t>
        <a:bodyPr/>
        <a:lstStyle/>
        <a:p>
          <a:endParaRPr lang="de-DE"/>
        </a:p>
      </dgm:t>
    </dgm:pt>
    <dgm:pt modelId="{2468E12C-61D4-4D16-A146-F27542886702}">
      <dgm:prSet phldrT="[Text]"/>
      <dgm:spPr/>
      <dgm:t>
        <a:bodyPr/>
        <a:lstStyle/>
        <a:p>
          <a:r>
            <a:rPr lang="de-DE" dirty="0" smtClean="0"/>
            <a:t>Überarbeitung bisheriger Elemente</a:t>
          </a:r>
          <a:endParaRPr lang="de-DE" dirty="0"/>
        </a:p>
      </dgm:t>
    </dgm:pt>
    <dgm:pt modelId="{68C5E960-5839-43E8-8B59-ED2FB1417234}" type="parTrans" cxnId="{8310B554-1C74-419D-BA05-4CE655558806}">
      <dgm:prSet/>
      <dgm:spPr/>
      <dgm:t>
        <a:bodyPr/>
        <a:lstStyle/>
        <a:p>
          <a:endParaRPr lang="de-DE"/>
        </a:p>
      </dgm:t>
    </dgm:pt>
    <dgm:pt modelId="{6014C1B3-6192-4AB4-AAFB-77DE1803E480}" type="sibTrans" cxnId="{8310B554-1C74-419D-BA05-4CE655558806}">
      <dgm:prSet/>
      <dgm:spPr/>
      <dgm:t>
        <a:bodyPr/>
        <a:lstStyle/>
        <a:p>
          <a:endParaRPr lang="de-DE"/>
        </a:p>
      </dgm:t>
    </dgm:pt>
    <dgm:pt modelId="{C647E60D-C57B-4F94-8189-C3799FB6F308}">
      <dgm:prSet phldrT="[Text]"/>
      <dgm:spPr/>
      <dgm:t>
        <a:bodyPr/>
        <a:lstStyle/>
        <a:p>
          <a:r>
            <a:rPr lang="de-DE" dirty="0" smtClean="0"/>
            <a:t>360°-Umfrage für einfachere Nutzung des Kompetenzmanagements</a:t>
          </a:r>
          <a:endParaRPr lang="de-DE" dirty="0"/>
        </a:p>
      </dgm:t>
    </dgm:pt>
    <dgm:pt modelId="{0CBD5DBF-1E40-4B90-AA39-821A6D7B48C6}" type="parTrans" cxnId="{449A71AA-FB9B-426E-A0F0-EC1354444889}">
      <dgm:prSet/>
      <dgm:spPr/>
      <dgm:t>
        <a:bodyPr/>
        <a:lstStyle/>
        <a:p>
          <a:endParaRPr lang="de-DE"/>
        </a:p>
      </dgm:t>
    </dgm:pt>
    <dgm:pt modelId="{A5D5A7EA-445D-4AF1-B781-0C08A2F981BC}" type="sibTrans" cxnId="{449A71AA-FB9B-426E-A0F0-EC1354444889}">
      <dgm:prSet/>
      <dgm:spPr/>
      <dgm:t>
        <a:bodyPr/>
        <a:lstStyle/>
        <a:p>
          <a:endParaRPr lang="de-DE"/>
        </a:p>
      </dgm:t>
    </dgm:pt>
    <dgm:pt modelId="{03B2100D-D6B9-4114-9619-B3D09B7883AB}">
      <dgm:prSet phldrT="[Text]"/>
      <dgm:spPr/>
      <dgm:t>
        <a:bodyPr/>
        <a:lstStyle/>
        <a:p>
          <a:r>
            <a:rPr lang="de-DE" dirty="0" smtClean="0"/>
            <a:t>Überarbeitung/Ergänzung der Kompetenzen</a:t>
          </a:r>
          <a:endParaRPr lang="de-DE" dirty="0"/>
        </a:p>
      </dgm:t>
    </dgm:pt>
    <dgm:pt modelId="{B818AB03-820C-49D7-8972-EEA606C34534}" type="parTrans" cxnId="{C517947D-1F96-47BF-AD98-2CD72F168D11}">
      <dgm:prSet/>
      <dgm:spPr/>
      <dgm:t>
        <a:bodyPr/>
        <a:lstStyle/>
        <a:p>
          <a:endParaRPr lang="de-DE"/>
        </a:p>
      </dgm:t>
    </dgm:pt>
    <dgm:pt modelId="{D966A485-1482-4526-BDBE-B979B2EE2494}" type="sibTrans" cxnId="{C517947D-1F96-47BF-AD98-2CD72F168D11}">
      <dgm:prSet/>
      <dgm:spPr/>
      <dgm:t>
        <a:bodyPr/>
        <a:lstStyle/>
        <a:p>
          <a:endParaRPr lang="de-DE"/>
        </a:p>
      </dgm:t>
    </dgm:pt>
    <dgm:pt modelId="{5281156F-FCF3-4EFB-B033-163BC4CE5679}">
      <dgm:prSet phldrT="[Text]"/>
      <dgm:spPr/>
      <dgm:t>
        <a:bodyPr/>
        <a:lstStyle/>
        <a:p>
          <a:r>
            <a:rPr lang="de-DE" dirty="0" smtClean="0"/>
            <a:t>Überarbeitung der Portfolio-Vorlage</a:t>
          </a:r>
          <a:endParaRPr lang="de-DE" dirty="0"/>
        </a:p>
      </dgm:t>
    </dgm:pt>
    <dgm:pt modelId="{F831AF02-B605-4749-8DEF-76320CD5FC9C}" type="parTrans" cxnId="{F88B9D7D-A0A7-474B-ABE0-5FE2985876B4}">
      <dgm:prSet/>
      <dgm:spPr/>
      <dgm:t>
        <a:bodyPr/>
        <a:lstStyle/>
        <a:p>
          <a:endParaRPr lang="de-DE"/>
        </a:p>
      </dgm:t>
    </dgm:pt>
    <dgm:pt modelId="{3C6D835B-78D7-4CA6-9DCD-D6C5CD509054}" type="sibTrans" cxnId="{F88B9D7D-A0A7-474B-ABE0-5FE2985876B4}">
      <dgm:prSet/>
      <dgm:spPr/>
      <dgm:t>
        <a:bodyPr/>
        <a:lstStyle/>
        <a:p>
          <a:endParaRPr lang="de-DE"/>
        </a:p>
      </dgm:t>
    </dgm:pt>
    <dgm:pt modelId="{63E1FF50-7683-4E5A-9AD9-9B8E6680C949}">
      <dgm:prSet phldrT="[Text]"/>
      <dgm:spPr/>
      <dgm:t>
        <a:bodyPr/>
        <a:lstStyle/>
        <a:p>
          <a:r>
            <a:rPr lang="de-DE" dirty="0" smtClean="0"/>
            <a:t>Ankommen an der HSB/im Studium</a:t>
          </a:r>
          <a:endParaRPr lang="de-DE" dirty="0"/>
        </a:p>
      </dgm:t>
    </dgm:pt>
    <dgm:pt modelId="{2C12D056-70F9-4942-97A1-9B3E428B0220}" type="parTrans" cxnId="{8AD3DB6B-A714-4F5D-91FE-3A3DCDDFAA50}">
      <dgm:prSet/>
      <dgm:spPr/>
      <dgm:t>
        <a:bodyPr/>
        <a:lstStyle/>
        <a:p>
          <a:endParaRPr lang="de-DE"/>
        </a:p>
      </dgm:t>
    </dgm:pt>
    <dgm:pt modelId="{C60F2E32-C9BA-4B88-B9E2-F6144D0091F4}" type="sibTrans" cxnId="{8AD3DB6B-A714-4F5D-91FE-3A3DCDDFAA50}">
      <dgm:prSet/>
      <dgm:spPr/>
      <dgm:t>
        <a:bodyPr/>
        <a:lstStyle/>
        <a:p>
          <a:endParaRPr lang="de-DE"/>
        </a:p>
      </dgm:t>
    </dgm:pt>
    <dgm:pt modelId="{1853E672-B40B-4920-864E-60C745E5E79A}" type="pres">
      <dgm:prSet presAssocID="{F69887B1-69CF-4418-85AD-8D1FE890F082}" presName="Name0" presStyleCnt="0">
        <dgm:presLayoutVars>
          <dgm:dir/>
          <dgm:animLvl val="lvl"/>
          <dgm:resizeHandles val="exact"/>
        </dgm:presLayoutVars>
      </dgm:prSet>
      <dgm:spPr/>
    </dgm:pt>
    <dgm:pt modelId="{B0B553EC-8A1F-4D0E-88C9-7088EA5E5DC2}" type="pres">
      <dgm:prSet presAssocID="{93762AA3-EF78-43DE-BB5E-DF899EF74527}" presName="composite" presStyleCnt="0"/>
      <dgm:spPr/>
    </dgm:pt>
    <dgm:pt modelId="{46DC783C-3994-4554-B16A-601F10582BA4}" type="pres">
      <dgm:prSet presAssocID="{93762AA3-EF78-43DE-BB5E-DF899EF74527}" presName="par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3E27430-A20F-4D81-BA1F-DD5B7D13FC37}" type="pres">
      <dgm:prSet presAssocID="{93762AA3-EF78-43DE-BB5E-DF899EF74527}" presName="desTx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FC3F1F4-8988-4C28-AF4F-470689F0E30B}" type="pres">
      <dgm:prSet presAssocID="{3E6047BB-0EA2-40EE-995E-F75E7CDECAFA}" presName="space" presStyleCnt="0"/>
      <dgm:spPr/>
    </dgm:pt>
    <dgm:pt modelId="{493ACF1B-F0B9-4A95-B0EC-4A34376DE7BB}" type="pres">
      <dgm:prSet presAssocID="{36D604A2-F3B2-4B38-9666-A4E3034577B0}" presName="composite" presStyleCnt="0"/>
      <dgm:spPr/>
    </dgm:pt>
    <dgm:pt modelId="{5841225C-FCA4-4CF6-B3E2-FB4AA1A9AE04}" type="pres">
      <dgm:prSet presAssocID="{36D604A2-F3B2-4B38-9666-A4E3034577B0}" presName="parTx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F9A307-5B8B-479E-9BEE-46DE8266EDC9}" type="pres">
      <dgm:prSet presAssocID="{36D604A2-F3B2-4B38-9666-A4E3034577B0}" presName="desTx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AB6B3A5-0268-4AE3-83B0-1C2469F6F73C}" type="pres">
      <dgm:prSet presAssocID="{947821C7-E9D3-4CD4-80C4-479F7A5C5E1A}" presName="space" presStyleCnt="0"/>
      <dgm:spPr/>
    </dgm:pt>
    <dgm:pt modelId="{C5344DAE-F3C4-4CA6-AD76-7B6F70B5493B}" type="pres">
      <dgm:prSet presAssocID="{F32511B4-7D12-47E3-AFA5-211A58FFEC64}" presName="composite" presStyleCnt="0"/>
      <dgm:spPr/>
    </dgm:pt>
    <dgm:pt modelId="{909D13EF-E864-47A7-96C1-1D9A361B34C4}" type="pres">
      <dgm:prSet presAssocID="{F32511B4-7D12-47E3-AFA5-211A58FFEC64}" presName="parTx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4FD010C-D370-411C-B0D3-527B9E51FDB0}" type="pres">
      <dgm:prSet presAssocID="{F32511B4-7D12-47E3-AFA5-211A58FFEC64}" presName="desTx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CD4FD0E-1E14-4B9D-8DFF-C37B40C91A0E}" type="pres">
      <dgm:prSet presAssocID="{9986503D-E638-41FD-BCC6-45DBDFF10220}" presName="space" presStyleCnt="0"/>
      <dgm:spPr/>
    </dgm:pt>
    <dgm:pt modelId="{FAB797F0-E20E-4BC8-8D51-B640DD8574CE}" type="pres">
      <dgm:prSet presAssocID="{8A118B3B-9598-40F2-A930-259BB0CBDCE6}" presName="composite" presStyleCnt="0"/>
      <dgm:spPr/>
    </dgm:pt>
    <dgm:pt modelId="{83EAFBF6-41F6-4B47-A2A6-B0B74816DFB5}" type="pres">
      <dgm:prSet presAssocID="{8A118B3B-9598-40F2-A930-259BB0CBDCE6}" presName="parTx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E88ECCB-5B6B-4A90-B5E8-41416192120B}" type="pres">
      <dgm:prSet presAssocID="{8A118B3B-9598-40F2-A930-259BB0CBDCE6}" presName="desTx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A277A11-9DA7-49AE-8046-CA0BD7A17E67}" type="pres">
      <dgm:prSet presAssocID="{8B771712-FB09-4343-A74E-5C2EF72C8D5B}" presName="space" presStyleCnt="0"/>
      <dgm:spPr/>
    </dgm:pt>
    <dgm:pt modelId="{A14F1416-0FB1-4BA1-8607-8D4B448E4862}" type="pres">
      <dgm:prSet presAssocID="{D6A3095E-4328-40FC-9341-62C35F8362AC}" presName="composite" presStyleCnt="0"/>
      <dgm:spPr/>
    </dgm:pt>
    <dgm:pt modelId="{86B98B72-0839-4622-9D20-B3260CB56BCA}" type="pres">
      <dgm:prSet presAssocID="{D6A3095E-4328-40FC-9341-62C35F8362AC}" presName="parTx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D20BC7-068C-41BA-8F1C-66C4DB0E0D2E}" type="pres">
      <dgm:prSet presAssocID="{D6A3095E-4328-40FC-9341-62C35F8362AC}" presName="desTx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038CB6E-618D-438C-AC43-0DCCFFE96152}" type="presOf" srcId="{93762AA3-EF78-43DE-BB5E-DF899EF74527}" destId="{46DC783C-3994-4554-B16A-601F10582BA4}" srcOrd="0" destOrd="0" presId="urn:microsoft.com/office/officeart/2005/8/layout/chevron1"/>
    <dgm:cxn modelId="{AB149F0C-E213-42AE-A4AC-94F6C50BEC8D}" srcId="{93762AA3-EF78-43DE-BB5E-DF899EF74527}" destId="{385D90F8-7E56-41F8-8DBB-572FD23197EE}" srcOrd="2" destOrd="0" parTransId="{C41585BF-B34B-4B66-89D9-3AE2D1D997F5}" sibTransId="{9FDE8472-885D-44CE-8E11-6029EEB50986}"/>
    <dgm:cxn modelId="{DCA438F6-CAD4-45D2-A1C3-D6CCC643664C}" type="presOf" srcId="{4160EE94-1421-4AC1-97FF-6D748458EA95}" destId="{B3E27430-A20F-4D81-BA1F-DD5B7D13FC37}" srcOrd="0" destOrd="4" presId="urn:microsoft.com/office/officeart/2005/8/layout/chevron1"/>
    <dgm:cxn modelId="{A67ADE3B-4883-4C03-84C7-71AC05D3F031}" srcId="{F69887B1-69CF-4418-85AD-8D1FE890F082}" destId="{F32511B4-7D12-47E3-AFA5-211A58FFEC64}" srcOrd="2" destOrd="0" parTransId="{CC5F17FE-0F1D-4BFE-AE57-DF91F6DD8536}" sibTransId="{9986503D-E638-41FD-BCC6-45DBDFF10220}"/>
    <dgm:cxn modelId="{2C52E3E3-864F-4BD1-9CD2-85EDB289F904}" type="presOf" srcId="{C8B9C084-216E-42EC-B7D7-52AB68897E38}" destId="{2E88ECCB-5B6B-4A90-B5E8-41416192120B}" srcOrd="0" destOrd="0" presId="urn:microsoft.com/office/officeart/2005/8/layout/chevron1"/>
    <dgm:cxn modelId="{88854148-FEC1-4572-934E-D1284C5B9BEC}" srcId="{F69887B1-69CF-4418-85AD-8D1FE890F082}" destId="{93762AA3-EF78-43DE-BB5E-DF899EF74527}" srcOrd="0" destOrd="0" parTransId="{0AECD95E-C0C0-4B17-83B7-A6549BC4DFF0}" sibTransId="{3E6047BB-0EA2-40EE-995E-F75E7CDECAFA}"/>
    <dgm:cxn modelId="{87EC8BBD-88D7-474E-8E6C-39A43B1E8532}" type="presOf" srcId="{761F8DD8-0995-4B9E-8551-EB72CCF9F46A}" destId="{B3E27430-A20F-4D81-BA1F-DD5B7D13FC37}" srcOrd="0" destOrd="3" presId="urn:microsoft.com/office/officeart/2005/8/layout/chevron1"/>
    <dgm:cxn modelId="{24545A77-198A-4AAC-87F1-8541722B3848}" srcId="{8A118B3B-9598-40F2-A930-259BB0CBDCE6}" destId="{C8B9C084-216E-42EC-B7D7-52AB68897E38}" srcOrd="0" destOrd="0" parTransId="{7B3230DD-D378-4005-8828-BC959B13A972}" sibTransId="{6E725180-90D7-4048-B9F7-F3B9D722AC29}"/>
    <dgm:cxn modelId="{5F6EAF40-EAD6-4681-8171-D2BEEDB6FD04}" type="presOf" srcId="{5281156F-FCF3-4EFB-B033-163BC4CE5679}" destId="{A4FD010C-D370-411C-B0D3-527B9E51FDB0}" srcOrd="0" destOrd="2" presId="urn:microsoft.com/office/officeart/2005/8/layout/chevron1"/>
    <dgm:cxn modelId="{38BEB3D5-A252-473F-8C84-E0487E087F5A}" type="presOf" srcId="{C647E60D-C57B-4F94-8189-C3799FB6F308}" destId="{A4FD010C-D370-411C-B0D3-527B9E51FDB0}" srcOrd="0" destOrd="0" presId="urn:microsoft.com/office/officeart/2005/8/layout/chevron1"/>
    <dgm:cxn modelId="{B4E43186-C95F-4C0B-A757-8F910CCAFC8D}" type="presOf" srcId="{9120D1A1-E5AF-4BE2-B89F-7BFC5A1AD9A0}" destId="{D0F9A307-5B8B-479E-9BEE-46DE8266EDC9}" srcOrd="0" destOrd="0" presId="urn:microsoft.com/office/officeart/2005/8/layout/chevron1"/>
    <dgm:cxn modelId="{9CCB569C-B421-4248-A8CE-D2A4A1FB0368}" type="presOf" srcId="{F32511B4-7D12-47E3-AFA5-211A58FFEC64}" destId="{909D13EF-E864-47A7-96C1-1D9A361B34C4}" srcOrd="0" destOrd="0" presId="urn:microsoft.com/office/officeart/2005/8/layout/chevron1"/>
    <dgm:cxn modelId="{C517947D-1F96-47BF-AD98-2CD72F168D11}" srcId="{F32511B4-7D12-47E3-AFA5-211A58FFEC64}" destId="{03B2100D-D6B9-4114-9619-B3D09B7883AB}" srcOrd="1" destOrd="0" parTransId="{B818AB03-820C-49D7-8972-EEA606C34534}" sibTransId="{D966A485-1482-4526-BDBE-B979B2EE2494}"/>
    <dgm:cxn modelId="{8BA08ED5-A555-414D-8224-A9DA96160B21}" srcId="{F69887B1-69CF-4418-85AD-8D1FE890F082}" destId="{36D604A2-F3B2-4B38-9666-A4E3034577B0}" srcOrd="1" destOrd="0" parTransId="{8D393A4E-D73B-4C9A-8672-101461167E4A}" sibTransId="{947821C7-E9D3-4CD4-80C4-479F7A5C5E1A}"/>
    <dgm:cxn modelId="{F88B9D7D-A0A7-474B-ABE0-5FE2985876B4}" srcId="{F32511B4-7D12-47E3-AFA5-211A58FFEC64}" destId="{5281156F-FCF3-4EFB-B033-163BC4CE5679}" srcOrd="2" destOrd="0" parTransId="{F831AF02-B605-4749-8DEF-76320CD5FC9C}" sibTransId="{3C6D835B-78D7-4CA6-9DCD-D6C5CD509054}"/>
    <dgm:cxn modelId="{5FE3B2ED-950A-404B-B374-3CE68F49109E}" srcId="{8A118B3B-9598-40F2-A930-259BB0CBDCE6}" destId="{49D2F9D4-3F4E-4C25-AB98-E2B14C83E03D}" srcOrd="1" destOrd="0" parTransId="{502AA4F3-3C70-40A0-80C5-9B691530085A}" sibTransId="{45615EA1-209B-4AA7-8B4D-0B51E13186D1}"/>
    <dgm:cxn modelId="{43ECE8E0-4185-4547-BC0C-6BE7656001A3}" type="presOf" srcId="{B8BC65D7-2E7E-4A30-AB3E-9434F412A6BB}" destId="{B3E27430-A20F-4D81-BA1F-DD5B7D13FC37}" srcOrd="0" destOrd="0" presId="urn:microsoft.com/office/officeart/2005/8/layout/chevron1"/>
    <dgm:cxn modelId="{BC76E81A-5B66-4098-97C0-1A7A52578BE5}" type="presOf" srcId="{385D90F8-7E56-41F8-8DBB-572FD23197EE}" destId="{B3E27430-A20F-4D81-BA1F-DD5B7D13FC37}" srcOrd="0" destOrd="2" presId="urn:microsoft.com/office/officeart/2005/8/layout/chevron1"/>
    <dgm:cxn modelId="{A491E6D8-A0B1-4938-8432-4525E8E93563}" srcId="{93762AA3-EF78-43DE-BB5E-DF899EF74527}" destId="{761F8DD8-0995-4B9E-8551-EB72CCF9F46A}" srcOrd="3" destOrd="0" parTransId="{582C9BBE-2A15-441C-A596-40CD5B582247}" sibTransId="{2392A2B3-5B34-4B54-BF12-38BA23258EB3}"/>
    <dgm:cxn modelId="{A7D760CA-EA6C-4231-83A8-C3F005AC8EB4}" type="presOf" srcId="{2468E12C-61D4-4D16-A146-F27542886702}" destId="{D0F9A307-5B8B-479E-9BEE-46DE8266EDC9}" srcOrd="0" destOrd="1" presId="urn:microsoft.com/office/officeart/2005/8/layout/chevron1"/>
    <dgm:cxn modelId="{8310B554-1C74-419D-BA05-4CE655558806}" srcId="{36D604A2-F3B2-4B38-9666-A4E3034577B0}" destId="{2468E12C-61D4-4D16-A146-F27542886702}" srcOrd="1" destOrd="0" parTransId="{68C5E960-5839-43E8-8B59-ED2FB1417234}" sibTransId="{6014C1B3-6192-4AB4-AAFB-77DE1803E480}"/>
    <dgm:cxn modelId="{493C1B46-1D93-466D-8E6D-13DA06681F89}" srcId="{F69887B1-69CF-4418-85AD-8D1FE890F082}" destId="{D6A3095E-4328-40FC-9341-62C35F8362AC}" srcOrd="4" destOrd="0" parTransId="{35AF8EB0-4D63-4226-B344-F4831D487D0E}" sibTransId="{077060A3-F955-409A-B595-1CE41D6316C8}"/>
    <dgm:cxn modelId="{2A0909F2-9935-4E16-A9F0-8915905B840B}" type="presOf" srcId="{63E1FF50-7683-4E5A-9AD9-9B8E6680C949}" destId="{B3E27430-A20F-4D81-BA1F-DD5B7D13FC37}" srcOrd="0" destOrd="1" presId="urn:microsoft.com/office/officeart/2005/8/layout/chevron1"/>
    <dgm:cxn modelId="{5D2D9AAE-FB9F-482D-B324-03D2906B60EB}" type="presOf" srcId="{03B2100D-D6B9-4114-9619-B3D09B7883AB}" destId="{A4FD010C-D370-411C-B0D3-527B9E51FDB0}" srcOrd="0" destOrd="1" presId="urn:microsoft.com/office/officeart/2005/8/layout/chevron1"/>
    <dgm:cxn modelId="{CB08C243-0B62-43FF-8B90-3C01BA6EF465}" type="presOf" srcId="{49D2F9D4-3F4E-4C25-AB98-E2B14C83E03D}" destId="{2E88ECCB-5B6B-4A90-B5E8-41416192120B}" srcOrd="0" destOrd="1" presId="urn:microsoft.com/office/officeart/2005/8/layout/chevron1"/>
    <dgm:cxn modelId="{652AD136-DDEF-4805-969B-0874165D7DB9}" srcId="{36D604A2-F3B2-4B38-9666-A4E3034577B0}" destId="{9120D1A1-E5AF-4BE2-B89F-7BFC5A1AD9A0}" srcOrd="0" destOrd="0" parTransId="{51A14A35-6829-4FEB-9ED2-EFE3B8879C8A}" sibTransId="{B3FB6DA7-1221-483F-8BB3-D25CFBA24BD0}"/>
    <dgm:cxn modelId="{746E328C-B7D4-4AA6-AA42-50AD1FEA3B63}" type="presOf" srcId="{36D604A2-F3B2-4B38-9666-A4E3034577B0}" destId="{5841225C-FCA4-4CF6-B3E2-FB4AA1A9AE04}" srcOrd="0" destOrd="0" presId="urn:microsoft.com/office/officeart/2005/8/layout/chevron1"/>
    <dgm:cxn modelId="{EB9F09B3-9CE3-45E5-A046-912F8D58AE98}" type="presOf" srcId="{8A118B3B-9598-40F2-A930-259BB0CBDCE6}" destId="{83EAFBF6-41F6-4B47-A2A6-B0B74816DFB5}" srcOrd="0" destOrd="0" presId="urn:microsoft.com/office/officeart/2005/8/layout/chevron1"/>
    <dgm:cxn modelId="{CB76B0A3-9C8F-4878-8DFA-4964A9250F57}" type="presOf" srcId="{F69887B1-69CF-4418-85AD-8D1FE890F082}" destId="{1853E672-B40B-4920-864E-60C745E5E79A}" srcOrd="0" destOrd="0" presId="urn:microsoft.com/office/officeart/2005/8/layout/chevron1"/>
    <dgm:cxn modelId="{88F66B69-226E-42DC-8284-1B09DEF73DFC}" srcId="{93762AA3-EF78-43DE-BB5E-DF899EF74527}" destId="{4160EE94-1421-4AC1-97FF-6D748458EA95}" srcOrd="4" destOrd="0" parTransId="{22102C0F-EEA8-413E-99F3-4EEABB13DFA8}" sibTransId="{69A448DF-AC9A-46FA-BE9D-3DC743FAFDAA}"/>
    <dgm:cxn modelId="{8AD3DB6B-A714-4F5D-91FE-3A3DCDDFAA50}" srcId="{93762AA3-EF78-43DE-BB5E-DF899EF74527}" destId="{63E1FF50-7683-4E5A-9AD9-9B8E6680C949}" srcOrd="1" destOrd="0" parTransId="{2C12D056-70F9-4942-97A1-9B3E428B0220}" sibTransId="{C60F2E32-C9BA-4B88-B9E2-F6144D0091F4}"/>
    <dgm:cxn modelId="{15F30136-E939-45B9-ADFB-ECAD53CF6783}" srcId="{93762AA3-EF78-43DE-BB5E-DF899EF74527}" destId="{B8BC65D7-2E7E-4A30-AB3E-9434F412A6BB}" srcOrd="0" destOrd="0" parTransId="{4E9B1550-A3F7-49C7-8A23-22603CF7D6D4}" sibTransId="{EBEEBF58-9C99-481A-B21A-9F8702DBDF4B}"/>
    <dgm:cxn modelId="{449A71AA-FB9B-426E-A0F0-EC1354444889}" srcId="{F32511B4-7D12-47E3-AFA5-211A58FFEC64}" destId="{C647E60D-C57B-4F94-8189-C3799FB6F308}" srcOrd="0" destOrd="0" parTransId="{0CBD5DBF-1E40-4B90-AA39-821A6D7B48C6}" sibTransId="{A5D5A7EA-445D-4AF1-B781-0C08A2F981BC}"/>
    <dgm:cxn modelId="{3F355418-67BA-4D28-9246-614354D2AFE1}" type="presOf" srcId="{D6A3095E-4328-40FC-9341-62C35F8362AC}" destId="{86B98B72-0839-4622-9D20-B3260CB56BCA}" srcOrd="0" destOrd="0" presId="urn:microsoft.com/office/officeart/2005/8/layout/chevron1"/>
    <dgm:cxn modelId="{D1CCC867-458C-410E-82B5-56385741E1BB}" srcId="{F69887B1-69CF-4418-85AD-8D1FE890F082}" destId="{8A118B3B-9598-40F2-A930-259BB0CBDCE6}" srcOrd="3" destOrd="0" parTransId="{BEC426D7-9E52-4D19-A22F-F542F466100D}" sibTransId="{8B771712-FB09-4343-A74E-5C2EF72C8D5B}"/>
    <dgm:cxn modelId="{A3AF6DD4-C7C0-4846-8361-75773568A6F8}" type="presParOf" srcId="{1853E672-B40B-4920-864E-60C745E5E79A}" destId="{B0B553EC-8A1F-4D0E-88C9-7088EA5E5DC2}" srcOrd="0" destOrd="0" presId="urn:microsoft.com/office/officeart/2005/8/layout/chevron1"/>
    <dgm:cxn modelId="{6C95E000-9948-44BA-9498-B40797D7E2F5}" type="presParOf" srcId="{B0B553EC-8A1F-4D0E-88C9-7088EA5E5DC2}" destId="{46DC783C-3994-4554-B16A-601F10582BA4}" srcOrd="0" destOrd="0" presId="urn:microsoft.com/office/officeart/2005/8/layout/chevron1"/>
    <dgm:cxn modelId="{E58CAD77-C6C0-4C99-B32A-D4543BC0DA77}" type="presParOf" srcId="{B0B553EC-8A1F-4D0E-88C9-7088EA5E5DC2}" destId="{B3E27430-A20F-4D81-BA1F-DD5B7D13FC37}" srcOrd="1" destOrd="0" presId="urn:microsoft.com/office/officeart/2005/8/layout/chevron1"/>
    <dgm:cxn modelId="{96B14DC9-A9C2-4098-A899-5AF2C76E6B10}" type="presParOf" srcId="{1853E672-B40B-4920-864E-60C745E5E79A}" destId="{9FC3F1F4-8988-4C28-AF4F-470689F0E30B}" srcOrd="1" destOrd="0" presId="urn:microsoft.com/office/officeart/2005/8/layout/chevron1"/>
    <dgm:cxn modelId="{9A7986E0-855B-40A2-9E10-7DE5AA7D6873}" type="presParOf" srcId="{1853E672-B40B-4920-864E-60C745E5E79A}" destId="{493ACF1B-F0B9-4A95-B0EC-4A34376DE7BB}" srcOrd="2" destOrd="0" presId="urn:microsoft.com/office/officeart/2005/8/layout/chevron1"/>
    <dgm:cxn modelId="{8AFCC4FE-E055-43B1-985C-F99147891B56}" type="presParOf" srcId="{493ACF1B-F0B9-4A95-B0EC-4A34376DE7BB}" destId="{5841225C-FCA4-4CF6-B3E2-FB4AA1A9AE04}" srcOrd="0" destOrd="0" presId="urn:microsoft.com/office/officeart/2005/8/layout/chevron1"/>
    <dgm:cxn modelId="{9AA92F11-B77C-443F-B241-6F4A7750E0E2}" type="presParOf" srcId="{493ACF1B-F0B9-4A95-B0EC-4A34376DE7BB}" destId="{D0F9A307-5B8B-479E-9BEE-46DE8266EDC9}" srcOrd="1" destOrd="0" presId="urn:microsoft.com/office/officeart/2005/8/layout/chevron1"/>
    <dgm:cxn modelId="{9E783711-35CE-4A42-B1F3-BC812B05BDD6}" type="presParOf" srcId="{1853E672-B40B-4920-864E-60C745E5E79A}" destId="{4AB6B3A5-0268-4AE3-83B0-1C2469F6F73C}" srcOrd="3" destOrd="0" presId="urn:microsoft.com/office/officeart/2005/8/layout/chevron1"/>
    <dgm:cxn modelId="{B8E99685-DB67-4606-9A8E-C4CB64C12AE7}" type="presParOf" srcId="{1853E672-B40B-4920-864E-60C745E5E79A}" destId="{C5344DAE-F3C4-4CA6-AD76-7B6F70B5493B}" srcOrd="4" destOrd="0" presId="urn:microsoft.com/office/officeart/2005/8/layout/chevron1"/>
    <dgm:cxn modelId="{A9E7C68B-9699-486A-A96D-A987D02CDB78}" type="presParOf" srcId="{C5344DAE-F3C4-4CA6-AD76-7B6F70B5493B}" destId="{909D13EF-E864-47A7-96C1-1D9A361B34C4}" srcOrd="0" destOrd="0" presId="urn:microsoft.com/office/officeart/2005/8/layout/chevron1"/>
    <dgm:cxn modelId="{AFD73089-5D00-4349-A70B-D2C484989A67}" type="presParOf" srcId="{C5344DAE-F3C4-4CA6-AD76-7B6F70B5493B}" destId="{A4FD010C-D370-411C-B0D3-527B9E51FDB0}" srcOrd="1" destOrd="0" presId="urn:microsoft.com/office/officeart/2005/8/layout/chevron1"/>
    <dgm:cxn modelId="{186A1C43-32F1-4B88-AE3A-3CE086B03450}" type="presParOf" srcId="{1853E672-B40B-4920-864E-60C745E5E79A}" destId="{2CD4FD0E-1E14-4B9D-8DFF-C37B40C91A0E}" srcOrd="5" destOrd="0" presId="urn:microsoft.com/office/officeart/2005/8/layout/chevron1"/>
    <dgm:cxn modelId="{DA93D00E-4951-4A6B-B3F6-2A431E060EB2}" type="presParOf" srcId="{1853E672-B40B-4920-864E-60C745E5E79A}" destId="{FAB797F0-E20E-4BC8-8D51-B640DD8574CE}" srcOrd="6" destOrd="0" presId="urn:microsoft.com/office/officeart/2005/8/layout/chevron1"/>
    <dgm:cxn modelId="{5ED7F574-CB6A-4EE5-BAFB-62EBE3AE824B}" type="presParOf" srcId="{FAB797F0-E20E-4BC8-8D51-B640DD8574CE}" destId="{83EAFBF6-41F6-4B47-A2A6-B0B74816DFB5}" srcOrd="0" destOrd="0" presId="urn:microsoft.com/office/officeart/2005/8/layout/chevron1"/>
    <dgm:cxn modelId="{7459E216-65E0-44F4-81AE-E577782813A8}" type="presParOf" srcId="{FAB797F0-E20E-4BC8-8D51-B640DD8574CE}" destId="{2E88ECCB-5B6B-4A90-B5E8-41416192120B}" srcOrd="1" destOrd="0" presId="urn:microsoft.com/office/officeart/2005/8/layout/chevron1"/>
    <dgm:cxn modelId="{DB87D1D9-610F-4E32-824F-1CD90CE445B7}" type="presParOf" srcId="{1853E672-B40B-4920-864E-60C745E5E79A}" destId="{CA277A11-9DA7-49AE-8046-CA0BD7A17E67}" srcOrd="7" destOrd="0" presId="urn:microsoft.com/office/officeart/2005/8/layout/chevron1"/>
    <dgm:cxn modelId="{C27FD600-4917-4B5F-8561-1857CC55EFE7}" type="presParOf" srcId="{1853E672-B40B-4920-864E-60C745E5E79A}" destId="{A14F1416-0FB1-4BA1-8607-8D4B448E4862}" srcOrd="8" destOrd="0" presId="urn:microsoft.com/office/officeart/2005/8/layout/chevron1"/>
    <dgm:cxn modelId="{E66DD25C-E406-4D19-93A7-C07C036CBDD5}" type="presParOf" srcId="{A14F1416-0FB1-4BA1-8607-8D4B448E4862}" destId="{86B98B72-0839-4622-9D20-B3260CB56BCA}" srcOrd="0" destOrd="0" presId="urn:microsoft.com/office/officeart/2005/8/layout/chevron1"/>
    <dgm:cxn modelId="{52BE2F52-57EA-4A04-8FA9-97BE6BB6DA0D}" type="presParOf" srcId="{A14F1416-0FB1-4BA1-8607-8D4B448E4862}" destId="{D0D20BC7-068C-41BA-8F1C-66C4DB0E0D2E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D5B3BD-4567-4AA8-A0E5-48EE1C5CEB7C}">
      <dsp:nvSpPr>
        <dsp:cNvPr id="0" name=""/>
        <dsp:cNvSpPr/>
      </dsp:nvSpPr>
      <dsp:spPr>
        <a:xfrm>
          <a:off x="661336" y="-36152"/>
          <a:ext cx="2888200" cy="2888200"/>
        </a:xfrm>
        <a:prstGeom prst="circularArrow">
          <a:avLst>
            <a:gd name="adj1" fmla="val 4668"/>
            <a:gd name="adj2" fmla="val 272909"/>
            <a:gd name="adj3" fmla="val 13167252"/>
            <a:gd name="adj4" fmla="val 17806299"/>
            <a:gd name="adj5" fmla="val 4847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6D7FFD-2396-4F17-9EA9-5A82F769328E}">
      <dsp:nvSpPr>
        <dsp:cNvPr id="0" name=""/>
        <dsp:cNvSpPr/>
      </dsp:nvSpPr>
      <dsp:spPr>
        <a:xfrm>
          <a:off x="1228514" y="752"/>
          <a:ext cx="1753845" cy="876922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Reflexion der Lern- und Arbeitsprozesse</a:t>
          </a:r>
          <a:endParaRPr lang="de-DE" sz="1200" kern="1200" dirty="0"/>
        </a:p>
      </dsp:txBody>
      <dsp:txXfrm>
        <a:off x="1271322" y="43560"/>
        <a:ext cx="1668229" cy="791306"/>
      </dsp:txXfrm>
    </dsp:sp>
    <dsp:sp modelId="{093DA278-624E-495C-83F8-3ADE600FC2EF}">
      <dsp:nvSpPr>
        <dsp:cNvPr id="0" name=""/>
        <dsp:cNvSpPr/>
      </dsp:nvSpPr>
      <dsp:spPr>
        <a:xfrm>
          <a:off x="2265570" y="1037808"/>
          <a:ext cx="1753845" cy="876922"/>
        </a:xfrm>
        <a:prstGeom prst="roundRect">
          <a:avLst/>
        </a:prstGeom>
        <a:solidFill>
          <a:schemeClr val="accent2">
            <a:hueOff val="-916568"/>
            <a:satOff val="17778"/>
            <a:lumOff val="163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Stärkung der Forschungsorientierung</a:t>
          </a:r>
          <a:endParaRPr lang="de-DE" sz="1200" kern="1200" dirty="0"/>
        </a:p>
      </dsp:txBody>
      <dsp:txXfrm>
        <a:off x="2308378" y="1080616"/>
        <a:ext cx="1668229" cy="791306"/>
      </dsp:txXfrm>
    </dsp:sp>
    <dsp:sp modelId="{5D3E52ED-0E00-4256-A1F4-9CA691776F8A}">
      <dsp:nvSpPr>
        <dsp:cNvPr id="0" name=""/>
        <dsp:cNvSpPr/>
      </dsp:nvSpPr>
      <dsp:spPr>
        <a:xfrm>
          <a:off x="1228514" y="2074864"/>
          <a:ext cx="1753845" cy="876922"/>
        </a:xfrm>
        <a:prstGeom prst="roundRect">
          <a:avLst/>
        </a:prstGeom>
        <a:solidFill>
          <a:schemeClr val="accent2">
            <a:hueOff val="-1833136"/>
            <a:satOff val="35557"/>
            <a:lumOff val="326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Vernetzung der Studierenden</a:t>
          </a:r>
          <a:endParaRPr lang="de-DE" sz="1200" kern="1200" dirty="0"/>
        </a:p>
      </dsp:txBody>
      <dsp:txXfrm>
        <a:off x="1271322" y="2117672"/>
        <a:ext cx="1668229" cy="791306"/>
      </dsp:txXfrm>
    </dsp:sp>
    <dsp:sp modelId="{E673270B-481E-453F-A543-2CE92A0977B3}">
      <dsp:nvSpPr>
        <dsp:cNvPr id="0" name=""/>
        <dsp:cNvSpPr/>
      </dsp:nvSpPr>
      <dsp:spPr>
        <a:xfrm>
          <a:off x="191458" y="1037808"/>
          <a:ext cx="1753845" cy="876922"/>
        </a:xfrm>
        <a:prstGeom prst="roundRect">
          <a:avLst/>
        </a:prstGeom>
        <a:solidFill>
          <a:schemeClr val="accent2">
            <a:hueOff val="-2749704"/>
            <a:satOff val="53335"/>
            <a:lumOff val="490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Verbesserung der Prüfungsleistungen</a:t>
          </a:r>
          <a:endParaRPr lang="de-DE" sz="1200" kern="1200" dirty="0"/>
        </a:p>
      </dsp:txBody>
      <dsp:txXfrm>
        <a:off x="234266" y="1080616"/>
        <a:ext cx="1668229" cy="7913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F897BB-8169-4A1C-9D7B-BB7F43357677}">
      <dsp:nvSpPr>
        <dsp:cNvPr id="0" name=""/>
        <dsp:cNvSpPr/>
      </dsp:nvSpPr>
      <dsp:spPr>
        <a:xfrm rot="16200000">
          <a:off x="164150" y="-164150"/>
          <a:ext cx="1778311" cy="2106612"/>
        </a:xfrm>
        <a:prstGeom prst="round1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1 Vom Lesen zum Schreiben</a:t>
          </a:r>
          <a:endParaRPr lang="de-DE" sz="14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Schreibbiographie</a:t>
          </a:r>
          <a:endParaRPr lang="de-DE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Reflexion zum Umgang mit Texten</a:t>
          </a:r>
          <a:endParaRPr lang="de-DE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Lesestrategien</a:t>
          </a:r>
          <a:endParaRPr lang="de-DE" sz="1100" kern="1200" dirty="0"/>
        </a:p>
      </dsp:txBody>
      <dsp:txXfrm rot="5400000">
        <a:off x="0" y="0"/>
        <a:ext cx="2106612" cy="1333733"/>
      </dsp:txXfrm>
    </dsp:sp>
    <dsp:sp modelId="{00A5A002-E89D-4814-A423-94B0DC365C90}">
      <dsp:nvSpPr>
        <dsp:cNvPr id="0" name=""/>
        <dsp:cNvSpPr/>
      </dsp:nvSpPr>
      <dsp:spPr>
        <a:xfrm>
          <a:off x="2106612" y="0"/>
          <a:ext cx="2106612" cy="1778311"/>
        </a:xfrm>
        <a:prstGeom prst="round1Rect">
          <a:avLst/>
        </a:prstGeom>
        <a:solidFill>
          <a:schemeClr val="accent2">
            <a:hueOff val="-916568"/>
            <a:satOff val="17778"/>
            <a:lumOff val="163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2 Textsorten (</a:t>
          </a:r>
          <a:r>
            <a:rPr lang="de-DE" sz="1400" kern="1200" dirty="0" err="1" smtClean="0"/>
            <a:t>SuUB</a:t>
          </a:r>
          <a:r>
            <a:rPr lang="de-DE" sz="1400" kern="1200" dirty="0" smtClean="0"/>
            <a:t>)</a:t>
          </a:r>
          <a:endParaRPr lang="de-DE" sz="14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Informationskreislauf</a:t>
          </a:r>
          <a:endParaRPr lang="de-DE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Quellen &amp; Zitate zuordnen</a:t>
          </a:r>
          <a:endParaRPr lang="de-DE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Zitierfähigkeit vs. Zitierwürdigkeit</a:t>
          </a:r>
          <a:endParaRPr lang="de-DE" sz="1100" kern="1200" dirty="0"/>
        </a:p>
      </dsp:txBody>
      <dsp:txXfrm>
        <a:off x="2106612" y="0"/>
        <a:ext cx="2106612" cy="1333733"/>
      </dsp:txXfrm>
    </dsp:sp>
    <dsp:sp modelId="{7B36CEBC-482F-437D-9E74-25047ADD9062}">
      <dsp:nvSpPr>
        <dsp:cNvPr id="0" name=""/>
        <dsp:cNvSpPr/>
      </dsp:nvSpPr>
      <dsp:spPr>
        <a:xfrm rot="10800000">
          <a:off x="0" y="1778311"/>
          <a:ext cx="2106612" cy="1778311"/>
        </a:xfrm>
        <a:prstGeom prst="round1Rect">
          <a:avLst/>
        </a:prstGeom>
        <a:solidFill>
          <a:schemeClr val="accent2">
            <a:hueOff val="-1833136"/>
            <a:satOff val="35557"/>
            <a:lumOff val="326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3 Ins Schreiben kommen</a:t>
          </a:r>
          <a:endParaRPr lang="de-DE" sz="14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Schreibprozessmodell</a:t>
          </a:r>
          <a:endParaRPr lang="de-DE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err="1" smtClean="0"/>
            <a:t>Rohtext</a:t>
          </a:r>
          <a:endParaRPr lang="de-DE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err="1" smtClean="0"/>
            <a:t>Schreibstratgien</a:t>
          </a:r>
          <a:endParaRPr lang="de-DE" sz="1100" kern="1200" dirty="0"/>
        </a:p>
      </dsp:txBody>
      <dsp:txXfrm rot="10800000">
        <a:off x="0" y="2222889"/>
        <a:ext cx="2106612" cy="1333733"/>
      </dsp:txXfrm>
    </dsp:sp>
    <dsp:sp modelId="{F004FAA7-4957-4A48-ABCE-4446931112D9}">
      <dsp:nvSpPr>
        <dsp:cNvPr id="0" name=""/>
        <dsp:cNvSpPr/>
      </dsp:nvSpPr>
      <dsp:spPr>
        <a:xfrm rot="5400000">
          <a:off x="2270763" y="1614161"/>
          <a:ext cx="1778311" cy="2106612"/>
        </a:xfrm>
        <a:prstGeom prst="round1Rect">
          <a:avLst/>
        </a:prstGeom>
        <a:solidFill>
          <a:schemeClr val="accent2">
            <a:hueOff val="-2749704"/>
            <a:satOff val="53335"/>
            <a:lumOff val="490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4 Feedback</a:t>
          </a:r>
          <a:endParaRPr lang="de-DE" sz="14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Reflexion eigener Erfahrungen</a:t>
          </a:r>
          <a:endParaRPr lang="de-DE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100" kern="1200" dirty="0" smtClean="0"/>
            <a:t>Sharing &amp; </a:t>
          </a:r>
          <a:r>
            <a:rPr lang="de-DE" sz="1100" kern="1200" dirty="0" err="1" smtClean="0"/>
            <a:t>Responding</a:t>
          </a:r>
          <a:endParaRPr lang="de-DE" sz="1100" kern="1200" dirty="0"/>
        </a:p>
      </dsp:txBody>
      <dsp:txXfrm rot="-5400000">
        <a:off x="2106612" y="2222888"/>
        <a:ext cx="2106612" cy="1333733"/>
      </dsp:txXfrm>
    </dsp:sp>
    <dsp:sp modelId="{A890529F-80B0-4E8B-AE73-E570C6E58AC6}">
      <dsp:nvSpPr>
        <dsp:cNvPr id="0" name=""/>
        <dsp:cNvSpPr/>
      </dsp:nvSpPr>
      <dsp:spPr>
        <a:xfrm>
          <a:off x="1474628" y="1333733"/>
          <a:ext cx="1263967" cy="889155"/>
        </a:xfrm>
        <a:prstGeom prst="roundRect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Konzept Qualifizierung</a:t>
          </a:r>
          <a:endParaRPr lang="de-DE" sz="1400" kern="1200" dirty="0"/>
        </a:p>
      </dsp:txBody>
      <dsp:txXfrm>
        <a:off x="1518033" y="1377138"/>
        <a:ext cx="1177157" cy="8023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DC783C-3994-4554-B16A-601F10582BA4}">
      <dsp:nvSpPr>
        <dsp:cNvPr id="0" name=""/>
        <dsp:cNvSpPr/>
      </dsp:nvSpPr>
      <dsp:spPr>
        <a:xfrm>
          <a:off x="515" y="1098949"/>
          <a:ext cx="1901063" cy="725983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Auswertung Umfrage </a:t>
          </a:r>
          <a:r>
            <a:rPr lang="de-DE" sz="1000" kern="1200" dirty="0" err="1" smtClean="0"/>
            <a:t>WiSe</a:t>
          </a:r>
          <a:r>
            <a:rPr lang="de-DE" sz="1000" kern="1200" dirty="0" smtClean="0"/>
            <a:t> 22/23 &amp; Erfahrungen der </a:t>
          </a:r>
          <a:r>
            <a:rPr lang="de-DE" sz="1000" kern="1200" dirty="0" err="1" smtClean="0"/>
            <a:t>Tutor:innen</a:t>
          </a:r>
          <a:r>
            <a:rPr lang="de-DE" sz="1000" kern="1200" dirty="0" smtClean="0"/>
            <a:t>/ Lehrbeauftragten</a:t>
          </a:r>
          <a:endParaRPr lang="de-DE" sz="1000" kern="1200" dirty="0"/>
        </a:p>
      </dsp:txBody>
      <dsp:txXfrm>
        <a:off x="363507" y="1098949"/>
        <a:ext cx="1175080" cy="725983"/>
      </dsp:txXfrm>
    </dsp:sp>
    <dsp:sp modelId="{B3E27430-A20F-4D81-BA1F-DD5B7D13FC37}">
      <dsp:nvSpPr>
        <dsp:cNvPr id="0" name=""/>
        <dsp:cNvSpPr/>
      </dsp:nvSpPr>
      <dsp:spPr>
        <a:xfrm>
          <a:off x="515" y="1915681"/>
          <a:ext cx="1520850" cy="103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Themen:</a:t>
          </a:r>
          <a:endParaRPr lang="de-DE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Ankommen an der HSB/im Studium</a:t>
          </a:r>
          <a:endParaRPr lang="de-DE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Wissenschaftliches Arbeiten</a:t>
          </a:r>
          <a:endParaRPr lang="de-DE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Feedback</a:t>
          </a:r>
          <a:endParaRPr lang="de-DE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Tutorium</a:t>
          </a:r>
          <a:endParaRPr lang="de-DE" sz="1000" kern="1200" dirty="0"/>
        </a:p>
      </dsp:txBody>
      <dsp:txXfrm>
        <a:off x="515" y="1915681"/>
        <a:ext cx="1520850" cy="1033593"/>
      </dsp:txXfrm>
    </dsp:sp>
    <dsp:sp modelId="{5841225C-FCA4-4CF6-B3E2-FB4AA1A9AE04}">
      <dsp:nvSpPr>
        <dsp:cNvPr id="0" name=""/>
        <dsp:cNvSpPr/>
      </dsp:nvSpPr>
      <dsp:spPr>
        <a:xfrm>
          <a:off x="1685579" y="1098949"/>
          <a:ext cx="1901063" cy="725983"/>
        </a:xfrm>
        <a:prstGeom prst="chevron">
          <a:avLst/>
        </a:prstGeom>
        <a:solidFill>
          <a:schemeClr val="accent2">
            <a:hueOff val="-687426"/>
            <a:satOff val="13334"/>
            <a:lumOff val="122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Weiterentwicklung Qualifizierung</a:t>
          </a:r>
          <a:endParaRPr lang="de-DE" sz="1000" kern="1200" dirty="0"/>
        </a:p>
      </dsp:txBody>
      <dsp:txXfrm>
        <a:off x="2048571" y="1098949"/>
        <a:ext cx="1175080" cy="725983"/>
      </dsp:txXfrm>
    </dsp:sp>
    <dsp:sp modelId="{D0F9A307-5B8B-479E-9BEE-46DE8266EDC9}">
      <dsp:nvSpPr>
        <dsp:cNvPr id="0" name=""/>
        <dsp:cNvSpPr/>
      </dsp:nvSpPr>
      <dsp:spPr>
        <a:xfrm>
          <a:off x="1685579" y="1915681"/>
          <a:ext cx="1520850" cy="103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Einbau neuer Elemente</a:t>
          </a:r>
          <a:endParaRPr lang="de-DE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Überarbeitung bisheriger Elemente</a:t>
          </a:r>
          <a:endParaRPr lang="de-DE" sz="1000" kern="1200" dirty="0"/>
        </a:p>
      </dsp:txBody>
      <dsp:txXfrm>
        <a:off x="1685579" y="1915681"/>
        <a:ext cx="1520850" cy="1033593"/>
      </dsp:txXfrm>
    </dsp:sp>
    <dsp:sp modelId="{909D13EF-E864-47A7-96C1-1D9A361B34C4}">
      <dsp:nvSpPr>
        <dsp:cNvPr id="0" name=""/>
        <dsp:cNvSpPr/>
      </dsp:nvSpPr>
      <dsp:spPr>
        <a:xfrm>
          <a:off x="3370642" y="1098949"/>
          <a:ext cx="1901063" cy="725983"/>
        </a:xfrm>
        <a:prstGeom prst="chevron">
          <a:avLst/>
        </a:prstGeom>
        <a:solidFill>
          <a:schemeClr val="accent2">
            <a:hueOff val="-1374852"/>
            <a:satOff val="26667"/>
            <a:lumOff val="24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Weiterentwicklung digitale Elemente</a:t>
          </a:r>
          <a:endParaRPr lang="de-DE" sz="1000" kern="1200" dirty="0"/>
        </a:p>
      </dsp:txBody>
      <dsp:txXfrm>
        <a:off x="3733634" y="1098949"/>
        <a:ext cx="1175080" cy="725983"/>
      </dsp:txXfrm>
    </dsp:sp>
    <dsp:sp modelId="{A4FD010C-D370-411C-B0D3-527B9E51FDB0}">
      <dsp:nvSpPr>
        <dsp:cNvPr id="0" name=""/>
        <dsp:cNvSpPr/>
      </dsp:nvSpPr>
      <dsp:spPr>
        <a:xfrm>
          <a:off x="3370642" y="1915681"/>
          <a:ext cx="1520850" cy="103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360°-Umfrage für einfachere Nutzung des Kompetenzmanagements</a:t>
          </a:r>
          <a:endParaRPr lang="de-DE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Überarbeitung/Ergänzung der Kompetenzen</a:t>
          </a:r>
          <a:endParaRPr lang="de-DE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Überarbeitung der Portfolio-Vorlage</a:t>
          </a:r>
          <a:endParaRPr lang="de-DE" sz="1000" kern="1200" dirty="0"/>
        </a:p>
      </dsp:txBody>
      <dsp:txXfrm>
        <a:off x="3370642" y="1915681"/>
        <a:ext cx="1520850" cy="1033593"/>
      </dsp:txXfrm>
    </dsp:sp>
    <dsp:sp modelId="{83EAFBF6-41F6-4B47-A2A6-B0B74816DFB5}">
      <dsp:nvSpPr>
        <dsp:cNvPr id="0" name=""/>
        <dsp:cNvSpPr/>
      </dsp:nvSpPr>
      <dsp:spPr>
        <a:xfrm>
          <a:off x="5055706" y="1098949"/>
          <a:ext cx="1901063" cy="725983"/>
        </a:xfrm>
        <a:prstGeom prst="chevron">
          <a:avLst/>
        </a:prstGeom>
        <a:solidFill>
          <a:schemeClr val="accent2">
            <a:hueOff val="-2062278"/>
            <a:satOff val="40001"/>
            <a:lumOff val="36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Überarbeitung Konzept</a:t>
          </a:r>
          <a:endParaRPr lang="de-DE" sz="1000" kern="1200" dirty="0"/>
        </a:p>
      </dsp:txBody>
      <dsp:txXfrm>
        <a:off x="5418698" y="1098949"/>
        <a:ext cx="1175080" cy="725983"/>
      </dsp:txXfrm>
    </dsp:sp>
    <dsp:sp modelId="{2E88ECCB-5B6B-4A90-B5E8-41416192120B}">
      <dsp:nvSpPr>
        <dsp:cNvPr id="0" name=""/>
        <dsp:cNvSpPr/>
      </dsp:nvSpPr>
      <dsp:spPr>
        <a:xfrm>
          <a:off x="5055706" y="1915681"/>
          <a:ext cx="1520850" cy="103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Ausweitung des Konzepts auf alle Lerngruppen</a:t>
          </a:r>
          <a:endParaRPr lang="de-DE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000" kern="1200" dirty="0" smtClean="0"/>
            <a:t>Erweiterung der Teilleistungen</a:t>
          </a:r>
          <a:endParaRPr lang="de-DE" sz="1000" kern="1200" dirty="0"/>
        </a:p>
      </dsp:txBody>
      <dsp:txXfrm>
        <a:off x="5055706" y="1915681"/>
        <a:ext cx="1520850" cy="1033593"/>
      </dsp:txXfrm>
    </dsp:sp>
    <dsp:sp modelId="{86B98B72-0839-4622-9D20-B3260CB56BCA}">
      <dsp:nvSpPr>
        <dsp:cNvPr id="0" name=""/>
        <dsp:cNvSpPr/>
      </dsp:nvSpPr>
      <dsp:spPr>
        <a:xfrm>
          <a:off x="6740769" y="1098949"/>
          <a:ext cx="1901063" cy="725983"/>
        </a:xfrm>
        <a:prstGeom prst="chevron">
          <a:avLst/>
        </a:prstGeom>
        <a:solidFill>
          <a:schemeClr val="accent2">
            <a:hueOff val="-2749704"/>
            <a:satOff val="53335"/>
            <a:lumOff val="490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Rekrutierung von </a:t>
          </a:r>
          <a:r>
            <a:rPr lang="de-DE" sz="1000" kern="1200" dirty="0" err="1" smtClean="0"/>
            <a:t>Tutor:innen</a:t>
          </a:r>
          <a:endParaRPr lang="de-DE" sz="1000" kern="1200" dirty="0"/>
        </a:p>
      </dsp:txBody>
      <dsp:txXfrm>
        <a:off x="7103761" y="1098949"/>
        <a:ext cx="1175080" cy="7259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13.02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13.02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910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7719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0" name="Picture 9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0294" y="70"/>
            <a:ext cx="9154293" cy="5148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0080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50825" y="2759974"/>
            <a:ext cx="8642350" cy="7200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49871" y="3615866"/>
            <a:ext cx="8643303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9252520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1458000"/>
            <a:ext cx="2649327" cy="1374807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14580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0302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13.02.2023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(Digitale) Peerfeedback-Kulturen, Anna Maria Kaim ©HSB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079958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13.02.2023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(Digitale) Peerfeedback-Kulturen, Anna Maria Kaim ©HSB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5" name="Picture 9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-438"/>
            <a:ext cx="9145795" cy="5143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18871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095375"/>
            <a:ext cx="9144000" cy="4048126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 smtClean="0"/>
              <a:t>Bild auf Platzhalter ziehen oder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51519" y="3417910"/>
            <a:ext cx="8640959" cy="73471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50825" y="4288512"/>
            <a:ext cx="8642349" cy="216024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200" y="-20538"/>
            <a:ext cx="2649327" cy="1374807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" y="-21600"/>
            <a:ext cx="3477912" cy="137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8" name="Picture 9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0"/>
            <a:ext cx="9143999" cy="5142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77390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 bwMode="gray">
          <a:xfrm>
            <a:off x="247261" y="492520"/>
            <a:ext cx="1044873" cy="323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400" dirty="0" smtClean="0">
                <a:solidFill>
                  <a:schemeClr val="bg1"/>
                </a:solidFill>
              </a:rPr>
              <a:t>Inhalt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247260" y="1050006"/>
            <a:ext cx="8645219" cy="3600450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9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0"/>
            <a:ext cx="9143999" cy="5142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58991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51521" y="1536634"/>
            <a:ext cx="8640958" cy="612000"/>
          </a:xfrm>
        </p:spPr>
        <p:txBody>
          <a:bodyPr anchor="b">
            <a:noAutofit/>
          </a:bodyPr>
          <a:lstStyle>
            <a:lvl1pPr algn="l"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46302" y="2211766"/>
            <a:ext cx="8640958" cy="504000"/>
          </a:xfrm>
        </p:spPr>
        <p:txBody>
          <a:bodyPr anchor="t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76341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13.02.2023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(Digitale) Peerfeedback-Kulturen, Anna Maria Kaim ©HSB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252000" y="1047600"/>
            <a:ext cx="8640000" cy="36000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7967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13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(Digitale) Peerfeedback-Kulturen, Anna Maria Kaim ©HSB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80430" y="1047600"/>
            <a:ext cx="4212050" cy="359211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901494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13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(Digitale) Peerfeedback-Kulturen, Anna Maria Kaim ©HSB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087041"/>
            <a:ext cx="4213225" cy="357227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 smtClean="0"/>
              <a:t>Bild auf Platzhalter ziehen oder durch Klicken auf Symbol hinzufügen</a:t>
            </a:r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252000" y="1047600"/>
            <a:ext cx="4212050" cy="359211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231713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469106"/>
            <a:ext cx="9143380" cy="46949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 smtClean="0"/>
              <a:t>Bild auf Platzhalter ziehen oder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98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0"/>
            <a:ext cx="9143999" cy="5142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33463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1521" y="2247714"/>
            <a:ext cx="8640960" cy="1593177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ctr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Zitat bearbeiten</a:t>
            </a:r>
          </a:p>
          <a:p>
            <a:pPr lvl="1"/>
            <a:r>
              <a:rPr lang="de-DE" dirty="0" smtClean="0"/>
              <a:t>Zitat 14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3633674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90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" y="0"/>
            <a:ext cx="9143995" cy="5142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528383" y="4767994"/>
            <a:ext cx="765448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13.02.2023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250825" y="4767994"/>
            <a:ext cx="680551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(Digitale) Peerfeedback-Kulturen, Anna Maria Kaim ©HSB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00491" y="4767994"/>
            <a:ext cx="391989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50825" y="1046438"/>
            <a:ext cx="8640000" cy="36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447574"/>
            <a:ext cx="8640000" cy="54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4659982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095586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4656524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797969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84268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6954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157010" y="-1960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797969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84268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6954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157010" y="5339558"/>
            <a:ext cx="18902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00" y="-32400"/>
            <a:ext cx="1209475" cy="62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4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4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4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10435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 smtClean="0"/>
              <a:t>AddInno</a:t>
            </a:r>
            <a:r>
              <a:rPr lang="de-DE" dirty="0" smtClean="0"/>
              <a:t> </a:t>
            </a:r>
            <a:r>
              <a:rPr lang="de-DE" dirty="0" err="1" smtClean="0"/>
              <a:t>Mitarbeiter:innentreffe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Fakultät 3: (Digitale) Peerfeedback-Kulturen</a:t>
            </a:r>
            <a:endParaRPr lang="de-DE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13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3478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fontAlgn="ctr"/>
            <a:r>
              <a:rPr lang="de-DE" dirty="0" smtClean="0"/>
              <a:t>Worum geht es im Projekt?</a:t>
            </a:r>
            <a:endParaRPr lang="de-DE" dirty="0"/>
          </a:p>
          <a:p>
            <a:r>
              <a:rPr lang="de-DE" dirty="0" smtClean="0"/>
              <a:t>Bestandsaufnahme </a:t>
            </a:r>
            <a:r>
              <a:rPr lang="de-DE" dirty="0" err="1" smtClean="0"/>
              <a:t>SoSe</a:t>
            </a:r>
            <a:r>
              <a:rPr lang="de-DE" dirty="0" smtClean="0"/>
              <a:t> 2022</a:t>
            </a:r>
            <a:endParaRPr lang="de-DE" dirty="0"/>
          </a:p>
          <a:p>
            <a:r>
              <a:rPr lang="de-DE" dirty="0" smtClean="0"/>
              <a:t>Qualifizierung der </a:t>
            </a:r>
            <a:r>
              <a:rPr lang="de-DE" dirty="0" err="1"/>
              <a:t>T</a:t>
            </a:r>
            <a:r>
              <a:rPr lang="de-DE" dirty="0" err="1" smtClean="0"/>
              <a:t>utor:innen</a:t>
            </a:r>
            <a:endParaRPr lang="de-DE" dirty="0"/>
          </a:p>
          <a:p>
            <a:r>
              <a:rPr lang="de-DE" dirty="0" smtClean="0"/>
              <a:t>Portfolio</a:t>
            </a:r>
            <a:endParaRPr lang="de-DE" dirty="0"/>
          </a:p>
          <a:p>
            <a:r>
              <a:rPr lang="de-DE" dirty="0" smtClean="0"/>
              <a:t>Kompetenzmanagement</a:t>
            </a:r>
          </a:p>
          <a:p>
            <a:r>
              <a:rPr lang="de-DE" dirty="0" smtClean="0"/>
              <a:t>Ausblick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2759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13.02.2023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(Digitale) Peerfeedback-Kulturen, Anna Maria Kaim ©HSB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>
                <a:solidFill>
                  <a:schemeClr val="accent2"/>
                </a:solidFill>
              </a:rPr>
              <a:pPr/>
              <a:t>3</a:t>
            </a:fld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Worum geht es im Projekt? </a:t>
            </a:r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61554314"/>
              </p:ext>
            </p:extLst>
          </p:nvPr>
        </p:nvGraphicFramePr>
        <p:xfrm>
          <a:off x="4679950" y="1403734"/>
          <a:ext cx="4210874" cy="29525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feld 8"/>
          <p:cNvSpPr txBox="1"/>
          <p:nvPr/>
        </p:nvSpPr>
        <p:spPr>
          <a:xfrm>
            <a:off x="240174" y="1111193"/>
            <a:ext cx="4223875" cy="23083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Fakultät 3, Soziale Arbeit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Projektleitung: </a:t>
            </a:r>
            <a:r>
              <a:rPr lang="de-DE" sz="1400" dirty="0" err="1" smtClean="0">
                <a:solidFill>
                  <a:schemeClr val="accent2"/>
                </a:solidFill>
              </a:rPr>
              <a:t>Prof.‘in</a:t>
            </a:r>
            <a:r>
              <a:rPr lang="de-DE" sz="1400" dirty="0" smtClean="0">
                <a:solidFill>
                  <a:schemeClr val="accent2"/>
                </a:solidFill>
              </a:rPr>
              <a:t> </a:t>
            </a:r>
            <a:r>
              <a:rPr lang="de-DE" sz="1400" dirty="0" err="1" smtClean="0">
                <a:solidFill>
                  <a:schemeClr val="accent2"/>
                </a:solidFill>
              </a:rPr>
              <a:t>Dr.‘in</a:t>
            </a:r>
            <a:r>
              <a:rPr lang="de-DE" sz="1400" dirty="0" smtClean="0">
                <a:solidFill>
                  <a:schemeClr val="accent2"/>
                </a:solidFill>
              </a:rPr>
              <a:t> Kirsten Sander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Etablierung von Feedbacksituationen &gt; Verknüpfung von analogen und digitalen Situationen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Ansatz im ersten Semester: Modul Wissenschaftliches Arbeiten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Unterstützung des Projekts durch </a:t>
            </a:r>
            <a:r>
              <a:rPr lang="de-DE" sz="1400" dirty="0" err="1" smtClean="0">
                <a:solidFill>
                  <a:schemeClr val="accent2"/>
                </a:solidFill>
              </a:rPr>
              <a:t>Tutor:innen</a:t>
            </a:r>
            <a:r>
              <a:rPr lang="de-DE" sz="1400" dirty="0" smtClean="0">
                <a:solidFill>
                  <a:schemeClr val="accent2"/>
                </a:solidFill>
              </a:rPr>
              <a:t> aus der Sozialen Arbeit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Ziel: Ausweitung auf weitere Module im Studiengang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 smtClean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271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13.02.2023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(Digitale) Peerfeedback-Kulturen, Anna Maria Kaim ©HSB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>
                <a:solidFill>
                  <a:schemeClr val="accent2"/>
                </a:solidFill>
              </a:rPr>
              <a:pPr/>
              <a:t>4</a:t>
            </a:fld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Bestandsaufnahme </a:t>
            </a:r>
            <a:r>
              <a:rPr lang="de-DE" dirty="0" err="1" smtClean="0">
                <a:solidFill>
                  <a:schemeClr val="accent2"/>
                </a:solidFill>
              </a:rPr>
              <a:t>SoSe</a:t>
            </a:r>
            <a:r>
              <a:rPr lang="de-DE" dirty="0" smtClean="0">
                <a:solidFill>
                  <a:schemeClr val="accent2"/>
                </a:solidFill>
              </a:rPr>
              <a:t> 22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240175" y="1111815"/>
            <a:ext cx="8650650" cy="23596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AULIS-Umfrage mit allen Studierenden der Sozialen Arbeit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Themen: </a:t>
            </a:r>
          </a:p>
          <a:p>
            <a:pPr marL="800100" lvl="1" indent="-342900">
              <a:spcBef>
                <a:spcPts val="2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accent2"/>
                </a:solidFill>
              </a:rPr>
              <a:t>Orientierung und Ankommen im Studium</a:t>
            </a:r>
          </a:p>
          <a:p>
            <a:pPr marL="800100" lvl="1" indent="-342900">
              <a:spcBef>
                <a:spcPts val="2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accent2"/>
                </a:solidFill>
              </a:rPr>
              <a:t>Wissenschaftliches Arbeiten</a:t>
            </a:r>
          </a:p>
          <a:p>
            <a:pPr marL="800100" lvl="1" indent="-342900">
              <a:spcBef>
                <a:spcPts val="2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de-DE" sz="1400" dirty="0" smtClean="0">
                <a:solidFill>
                  <a:schemeClr val="accent2"/>
                </a:solidFill>
              </a:rPr>
              <a:t>Feedback</a:t>
            </a:r>
          </a:p>
          <a:p>
            <a:pPr marL="342900" indent="-34290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accent2"/>
                </a:solidFill>
              </a:rPr>
              <a:t>Wichtigste </a:t>
            </a:r>
            <a:r>
              <a:rPr lang="de-DE" sz="1400" dirty="0" smtClean="0">
                <a:solidFill>
                  <a:schemeClr val="accent2"/>
                </a:solidFill>
              </a:rPr>
              <a:t>Erkenntnisse: (a) Studierende </a:t>
            </a:r>
            <a:r>
              <a:rPr lang="de-DE" sz="1400" dirty="0">
                <a:solidFill>
                  <a:schemeClr val="accent2"/>
                </a:solidFill>
              </a:rPr>
              <a:t>wünschen sich Unterstützungsangebote im Bereich Wissenschaftliches Arbeiten über das erste Semester </a:t>
            </a:r>
            <a:r>
              <a:rPr lang="de-DE" sz="1400" dirty="0" smtClean="0">
                <a:solidFill>
                  <a:schemeClr val="accent2"/>
                </a:solidFill>
              </a:rPr>
              <a:t>hinaus, und (b) Studierende bemängeln die aktuelle Qualität des Feedbacks</a:t>
            </a:r>
            <a:endParaRPr lang="de-DE" sz="1400" dirty="0">
              <a:solidFill>
                <a:schemeClr val="accent2"/>
              </a:solidFill>
            </a:endParaRPr>
          </a:p>
          <a:p>
            <a:pPr marL="342900" indent="-34290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Entwicklung von Ideen für das Wintersemester</a:t>
            </a:r>
          </a:p>
          <a:p>
            <a:pPr marL="342900" indent="-34290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Digitale Komponenten (AULIS): Portfolio &amp; Kompetenzmanagement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 smtClean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842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13.02.2023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(Digitale) Peerfeedback-Kulturen, Anna Maria Kaim ©HSB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>
                <a:solidFill>
                  <a:schemeClr val="accent2"/>
                </a:solidFill>
              </a:rPr>
              <a:pPr/>
              <a:t>5</a:t>
            </a:fld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Qualifizierung der </a:t>
            </a:r>
            <a:r>
              <a:rPr lang="de-DE" dirty="0" err="1" smtClean="0">
                <a:solidFill>
                  <a:schemeClr val="accent2"/>
                </a:solidFill>
              </a:rPr>
              <a:t>Tutor:innen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4697299" y="1095375"/>
            <a:ext cx="4223875" cy="3385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Kooperation mit ZLL (Tanja </a:t>
            </a:r>
            <a:r>
              <a:rPr lang="de-DE" sz="1400" dirty="0" err="1" smtClean="0">
                <a:solidFill>
                  <a:schemeClr val="accent2"/>
                </a:solidFill>
              </a:rPr>
              <a:t>Sklarek</a:t>
            </a:r>
            <a:r>
              <a:rPr lang="de-DE" sz="1400" dirty="0" smtClean="0">
                <a:solidFill>
                  <a:schemeClr val="accent2"/>
                </a:solidFill>
              </a:rPr>
              <a:t>, Tanja Müller) und </a:t>
            </a:r>
            <a:r>
              <a:rPr lang="de-DE" sz="1400" dirty="0" err="1" smtClean="0">
                <a:solidFill>
                  <a:schemeClr val="accent2"/>
                </a:solidFill>
              </a:rPr>
              <a:t>SuUB</a:t>
            </a:r>
            <a:r>
              <a:rPr lang="de-DE" sz="1400" dirty="0" smtClean="0">
                <a:solidFill>
                  <a:schemeClr val="accent2"/>
                </a:solidFill>
              </a:rPr>
              <a:t> (Christin Aue)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4-teilige Qualifizierung im Rahmen von </a:t>
            </a:r>
            <a:r>
              <a:rPr lang="de-DE" sz="1400" dirty="0" err="1" smtClean="0">
                <a:solidFill>
                  <a:schemeClr val="accent2"/>
                </a:solidFill>
              </a:rPr>
              <a:t>StudiumPlus</a:t>
            </a:r>
            <a:r>
              <a:rPr lang="de-DE" sz="1400" dirty="0" smtClean="0">
                <a:solidFill>
                  <a:schemeClr val="accent2"/>
                </a:solidFill>
              </a:rPr>
              <a:t> im Oktober/November 2022 im Umfang von 15 U-Stunden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Automatisierte Evaluation bereits erfolgt, detaillierte Evaluation mit </a:t>
            </a:r>
            <a:r>
              <a:rPr lang="de-DE" sz="1400" dirty="0" err="1" smtClean="0">
                <a:solidFill>
                  <a:schemeClr val="accent2"/>
                </a:solidFill>
              </a:rPr>
              <a:t>Tutor:innen</a:t>
            </a:r>
            <a:r>
              <a:rPr lang="de-DE" sz="1400" dirty="0" smtClean="0">
                <a:solidFill>
                  <a:schemeClr val="accent2"/>
                </a:solidFill>
              </a:rPr>
              <a:t> steht noch aus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accent2"/>
                </a:solidFill>
              </a:rPr>
              <a:t>Potentielle Ausweitung der Qualifizierung auf 30 </a:t>
            </a:r>
            <a:r>
              <a:rPr lang="de-DE" sz="1400" dirty="0" smtClean="0">
                <a:solidFill>
                  <a:schemeClr val="accent2"/>
                </a:solidFill>
              </a:rPr>
              <a:t>U-Stunden für das </a:t>
            </a:r>
            <a:r>
              <a:rPr lang="de-DE" sz="1400" dirty="0" err="1" smtClean="0">
                <a:solidFill>
                  <a:schemeClr val="accent2"/>
                </a:solidFill>
              </a:rPr>
              <a:t>WiSe</a:t>
            </a:r>
            <a:r>
              <a:rPr lang="de-DE" sz="1400" dirty="0" smtClean="0">
                <a:solidFill>
                  <a:schemeClr val="accent2"/>
                </a:solidFill>
              </a:rPr>
              <a:t> 23/24</a:t>
            </a:r>
            <a:endParaRPr lang="de-DE" sz="1400" dirty="0">
              <a:solidFill>
                <a:schemeClr val="accent2"/>
              </a:solidFill>
            </a:endParaRP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z. B. Kooperation mit </a:t>
            </a:r>
            <a:r>
              <a:rPr lang="de-DE" sz="1400" dirty="0" smtClean="0">
                <a:solidFill>
                  <a:schemeClr val="accent2"/>
                </a:solidFill>
              </a:rPr>
              <a:t>Nora Albrecht/Anna Peschke </a:t>
            </a:r>
            <a:r>
              <a:rPr lang="de-DE" sz="1400" dirty="0" smtClean="0">
                <a:solidFill>
                  <a:schemeClr val="accent2"/>
                </a:solidFill>
              </a:rPr>
              <a:t>(digitale Barrierefreiheit) &amp; Inkorporation von Elementen der allgemeinen </a:t>
            </a:r>
            <a:r>
              <a:rPr lang="de-DE" sz="1400" dirty="0" err="1" smtClean="0">
                <a:solidFill>
                  <a:schemeClr val="accent2"/>
                </a:solidFill>
              </a:rPr>
              <a:t>Tutor:innenausbildung</a:t>
            </a:r>
            <a:r>
              <a:rPr lang="de-DE" sz="1400" dirty="0" smtClean="0">
                <a:solidFill>
                  <a:schemeClr val="accent2"/>
                </a:solidFill>
              </a:rPr>
              <a:t> (Rolle, Planung)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chemeClr val="accent2"/>
              </a:solidFill>
            </a:endParaRP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 smtClean="0">
              <a:solidFill>
                <a:schemeClr val="accent2"/>
              </a:solidFill>
            </a:endParaRPr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2838156761"/>
              </p:ext>
            </p:extLst>
          </p:nvPr>
        </p:nvGraphicFramePr>
        <p:xfrm>
          <a:off x="250825" y="1102689"/>
          <a:ext cx="4213225" cy="35566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98916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13.02.2023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(Digitale) Peerfeedback-Kulturen, Anna Maria Kaim ©HSB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>
                <a:solidFill>
                  <a:schemeClr val="accent2"/>
                </a:solidFill>
              </a:rPr>
              <a:pPr/>
              <a:t>6</a:t>
            </a:fld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Portfolio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257721" y="1095375"/>
            <a:ext cx="4223875" cy="21185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Arbeit mit 3 Teilleistungen &amp; wöchentlichen Reflexionsaufgaben im Portfolio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Nutzung einer Portfoliovorlage:</a:t>
            </a:r>
          </a:p>
          <a:p>
            <a:pPr marL="742950" lvl="1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Informationen zu PL</a:t>
            </a:r>
          </a:p>
          <a:p>
            <a:pPr marL="742950" lvl="1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Tipps zum aktuellen Thema</a:t>
            </a:r>
          </a:p>
          <a:p>
            <a:pPr marL="742950" lvl="1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Zu erwerbende Kompetenzen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Nutzung der Kommentarfunktion für Peerfeedback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chemeClr val="accent2"/>
              </a:solidFill>
            </a:endParaRP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 smtClean="0">
              <a:solidFill>
                <a:schemeClr val="accent2"/>
              </a:solidFill>
            </a:endParaRPr>
          </a:p>
        </p:txBody>
      </p:sp>
      <p:pic>
        <p:nvPicPr>
          <p:cNvPr id="8" name="Grafik 7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949" y="1095375"/>
            <a:ext cx="4210875" cy="3170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020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13.02.2023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(Digitale) Peerfeedback-Kulturen, Anna Maria Kaim ©HSB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>
                <a:solidFill>
                  <a:schemeClr val="accent2"/>
                </a:solidFill>
              </a:rPr>
              <a:pPr/>
              <a:t>7</a:t>
            </a:fld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Kompetenzmanagement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804248" y="1095375"/>
            <a:ext cx="2116926" cy="42729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Kooperation mit ZLL </a:t>
            </a:r>
            <a:r>
              <a:rPr lang="de-DE" sz="1400" dirty="0" smtClean="0">
                <a:solidFill>
                  <a:schemeClr val="accent2"/>
                </a:solidFill>
              </a:rPr>
              <a:t>(Johanna Brauns) </a:t>
            </a:r>
            <a:r>
              <a:rPr lang="de-DE" sz="1400" dirty="0" smtClean="0">
                <a:solidFill>
                  <a:schemeClr val="accent2"/>
                </a:solidFill>
              </a:rPr>
              <a:t>/ MMCC (Ulrike Wilkens)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Entwicklung und Formulierung in vier Teilbereichen: Lesen, Schreiben, Feedback, Reflexion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Verknüpfung von Kompetenzmanagement mit Portfolio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Verbesserungsbedarf: Nutzung muss einfacher werden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2"/>
                </a:solidFill>
              </a:rPr>
              <a:t>Kompetenzen hochschulweit nutzbar</a:t>
            </a: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chemeClr val="accent2"/>
              </a:solidFill>
            </a:endParaRP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chemeClr val="accent2"/>
              </a:solidFill>
            </a:endParaRPr>
          </a:p>
          <a:p>
            <a:pPr marL="285750" indent="-285750"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e-DE" sz="1400" dirty="0" err="1" smtClean="0">
              <a:solidFill>
                <a:schemeClr val="accent2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92" y="1096275"/>
            <a:ext cx="6397204" cy="2807624"/>
          </a:xfrm>
          <a:prstGeom prst="rect">
            <a:avLst/>
          </a:prstGeom>
        </p:spPr>
      </p:pic>
      <p:sp>
        <p:nvSpPr>
          <p:cNvPr id="7" name="Ovale Legende 6"/>
          <p:cNvSpPr/>
          <p:nvPr/>
        </p:nvSpPr>
        <p:spPr>
          <a:xfrm flipV="1">
            <a:off x="359532" y="1851669"/>
            <a:ext cx="648072" cy="360040"/>
          </a:xfrm>
          <a:prstGeom prst="wedgeEllipseCallou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 smtClean="0"/>
          </a:p>
        </p:txBody>
      </p:sp>
      <p:sp>
        <p:nvSpPr>
          <p:cNvPr id="8" name="Textfeld 7"/>
          <p:cNvSpPr txBox="1"/>
          <p:nvPr/>
        </p:nvSpPr>
        <p:spPr>
          <a:xfrm>
            <a:off x="394908" y="1954745"/>
            <a:ext cx="6126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000" dirty="0" smtClean="0">
                <a:solidFill>
                  <a:schemeClr val="bg1"/>
                </a:solidFill>
              </a:rPr>
              <a:t>Lernerfolge</a:t>
            </a:r>
          </a:p>
        </p:txBody>
      </p:sp>
      <p:sp>
        <p:nvSpPr>
          <p:cNvPr id="10" name="Ovale Legende 9"/>
          <p:cNvSpPr/>
          <p:nvPr/>
        </p:nvSpPr>
        <p:spPr>
          <a:xfrm>
            <a:off x="641440" y="756016"/>
            <a:ext cx="1020360" cy="360040"/>
          </a:xfrm>
          <a:prstGeom prst="wedgeEllipseCallou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400" dirty="0" err="1" smtClean="0"/>
          </a:p>
        </p:txBody>
      </p:sp>
      <p:sp>
        <p:nvSpPr>
          <p:cNvPr id="11" name="Textfeld 10"/>
          <p:cNvSpPr txBox="1"/>
          <p:nvPr/>
        </p:nvSpPr>
        <p:spPr>
          <a:xfrm>
            <a:off x="791580" y="859092"/>
            <a:ext cx="72008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de-DE" sz="1000" dirty="0" smtClean="0">
                <a:solidFill>
                  <a:schemeClr val="bg1"/>
                </a:solidFill>
              </a:rPr>
              <a:t>Kompetenzen</a:t>
            </a:r>
          </a:p>
        </p:txBody>
      </p:sp>
    </p:spTree>
    <p:extLst>
      <p:ext uri="{BB962C8B-B14F-4D97-AF65-F5344CB8AC3E}">
        <p14:creationId xmlns:p14="http://schemas.microsoft.com/office/powerpoint/2010/main" val="1651518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13.02.2023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(Digitale) Peerfeedback-Kulturen, Anna Maria Kaim ©HSB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44F55-0981-4E9E-8F6B-2F7546EE58D7}" type="slidenum">
              <a:rPr lang="de-DE" smtClean="0">
                <a:solidFill>
                  <a:schemeClr val="accent2"/>
                </a:solidFill>
              </a:rPr>
              <a:pPr/>
              <a:t>8</a:t>
            </a:fld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Wie geht‘s weiter?</a:t>
            </a:r>
            <a:endParaRPr lang="de-DE" dirty="0">
              <a:solidFill>
                <a:schemeClr val="accent2"/>
              </a:solidFill>
            </a:endParaRPr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3045985868"/>
              </p:ext>
            </p:extLst>
          </p:nvPr>
        </p:nvGraphicFramePr>
        <p:xfrm>
          <a:off x="250825" y="555526"/>
          <a:ext cx="8642349" cy="4048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61961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1025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Vielen Dank!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50825" y="3671904"/>
            <a:ext cx="2012978" cy="110799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de-DE" sz="1200" dirty="0" smtClean="0">
                <a:solidFill>
                  <a:schemeClr val="bg1"/>
                </a:solidFill>
              </a:rPr>
              <a:t>Neustadtswall 30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D-28199 Bremen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T +49 421 59050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F +49 421 5905 2292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info@hs-bremen.de</a:t>
            </a:r>
          </a:p>
          <a:p>
            <a:r>
              <a:rPr lang="de-DE" sz="1200" dirty="0" smtClean="0">
                <a:solidFill>
                  <a:schemeClr val="bg1"/>
                </a:solidFill>
              </a:rPr>
              <a:t>hs-bremen.de</a:t>
            </a:r>
            <a:endParaRPr lang="de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502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16zu9_Hellgruen-Gelb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4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4zu3_türkisblau_ras.potx</Template>
  <TotalTime>0</TotalTime>
  <Words>516</Words>
  <Application>Microsoft Office PowerPoint</Application>
  <PresentationFormat>Bildschirmpräsentation (16:9)</PresentationFormat>
  <Paragraphs>111</Paragraphs>
  <Slides>9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Arial</vt:lpstr>
      <vt:lpstr>Calibri</vt:lpstr>
      <vt:lpstr>Symbol</vt:lpstr>
      <vt:lpstr>Wingdings</vt:lpstr>
      <vt:lpstr>HSB_16zu9_Hellgruen-Gelb</vt:lpstr>
      <vt:lpstr>think-cell Folie</vt:lpstr>
      <vt:lpstr>AddInno Mitarbeiter:innentreffen Fakultät 3: (Digitale) Peerfeedback-Kulturen</vt:lpstr>
      <vt:lpstr>PowerPoint-Präsentation</vt:lpstr>
      <vt:lpstr>Worum geht es im Projekt? </vt:lpstr>
      <vt:lpstr>Bestandsaufnahme SoSe 22</vt:lpstr>
      <vt:lpstr>Qualifizierung der Tutor:innen</vt:lpstr>
      <vt:lpstr>Portfolio</vt:lpstr>
      <vt:lpstr>Kompetenzmanagement</vt:lpstr>
      <vt:lpstr>Wie geht‘s weiter?</vt:lpstr>
      <vt:lpstr>Vielen Dank!</vt:lpstr>
    </vt:vector>
  </TitlesOfParts>
  <Company>H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lastModifiedBy>Kaim</cp:lastModifiedBy>
  <cp:revision>94</cp:revision>
  <dcterms:created xsi:type="dcterms:W3CDTF">2016-01-25T15:52:04Z</dcterms:created>
  <dcterms:modified xsi:type="dcterms:W3CDTF">2023-02-13T10:07:48Z</dcterms:modified>
  <cp:category>Vorlage</cp:category>
</cp:coreProperties>
</file>